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2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4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40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2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1945" r:id="rId10"/>
    <p:sldId id="1962" r:id="rId11"/>
    <p:sldId id="1994" r:id="rId12"/>
    <p:sldId id="1996" r:id="rId13"/>
    <p:sldId id="1998" r:id="rId14"/>
    <p:sldId id="1999" r:id="rId15"/>
    <p:sldId id="2000" r:id="rId16"/>
    <p:sldId id="2001" r:id="rId17"/>
    <p:sldId id="2002" r:id="rId18"/>
    <p:sldId id="2003" r:id="rId19"/>
    <p:sldId id="2004" r:id="rId20"/>
    <p:sldId id="2005" r:id="rId21"/>
    <p:sldId id="2006" r:id="rId22"/>
    <p:sldId id="2007" r:id="rId23"/>
    <p:sldId id="2008" r:id="rId24"/>
    <p:sldId id="2009" r:id="rId25"/>
    <p:sldId id="2010" r:id="rId26"/>
    <p:sldId id="2011" r:id="rId27"/>
    <p:sldId id="2012" r:id="rId28"/>
    <p:sldId id="1942" r:id="rId29"/>
    <p:sldId id="1474" r:id="rId30"/>
    <p:sldId id="1481" r:id="rId31"/>
    <p:sldId id="1482" r:id="rId32"/>
    <p:sldId id="1475" r:id="rId33"/>
    <p:sldId id="1483" r:id="rId34"/>
    <p:sldId id="1923" r:id="rId35"/>
    <p:sldId id="1476" r:id="rId36"/>
    <p:sldId id="1523" r:id="rId37"/>
    <p:sldId id="1524" r:id="rId38"/>
    <p:sldId id="1595" r:id="rId39"/>
    <p:sldId id="1639" r:id="rId40"/>
    <p:sldId id="1802" r:id="rId41"/>
    <p:sldId id="1829" r:id="rId42"/>
    <p:sldId id="1823" r:id="rId43"/>
    <p:sldId id="1845" r:id="rId44"/>
    <p:sldId id="1864" r:id="rId45"/>
    <p:sldId id="1866" r:id="rId46"/>
    <p:sldId id="1886" r:id="rId47"/>
    <p:sldId id="1528" r:id="rId48"/>
    <p:sldId id="1530" r:id="rId49"/>
    <p:sldId id="1571" r:id="rId50"/>
    <p:sldId id="1572" r:id="rId51"/>
    <p:sldId id="1596" r:id="rId52"/>
    <p:sldId id="1615" r:id="rId53"/>
    <p:sldId id="1617" r:id="rId54"/>
    <p:sldId id="1641" r:id="rId55"/>
    <p:sldId id="1784" r:id="rId56"/>
    <p:sldId id="1804" r:id="rId57"/>
    <p:sldId id="1888" r:id="rId58"/>
    <p:sldId id="1907" r:id="rId59"/>
    <p:sldId id="1592" r:id="rId60"/>
    <p:sldId id="1593" r:id="rId61"/>
  </p:sldIdLst>
  <p:sldSz cx="12192000" cy="6858000"/>
  <p:notesSz cx="6858000" cy="9144000"/>
  <p:custDataLst>
    <p:tags r:id="rId6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FF"/>
    <a:srgbClr val="FCE34E"/>
    <a:srgbClr val="FFFF00"/>
    <a:srgbClr val="E4F828"/>
    <a:srgbClr val="000000"/>
    <a:srgbClr val="00FF00"/>
    <a:srgbClr val="FF9966"/>
    <a:srgbClr val="FF9933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99" autoAdjust="0"/>
    <p:restoredTop sz="96400" autoAdjust="0"/>
  </p:normalViewPr>
  <p:slideViewPr>
    <p:cSldViewPr snapToGrid="0">
      <p:cViewPr>
        <p:scale>
          <a:sx n="100" d="100"/>
          <a:sy n="100" d="100"/>
        </p:scale>
        <p:origin x="1104" y="34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06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gs" Target="tags/tag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P$1</c:f>
              <c:strCache>
                <c:ptCount val="93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  <c:pt idx="86">
                  <c:v>20.12.–26.12.</c:v>
                </c:pt>
                <c:pt idx="87">
                  <c:v>27.12.–2.1.</c:v>
                </c:pt>
                <c:pt idx="88">
                  <c:v>3.1.–9.1.</c:v>
                </c:pt>
                <c:pt idx="89">
                  <c:v>10.1.–16.1.</c:v>
                </c:pt>
                <c:pt idx="90">
                  <c:v>17.1.–23.1.</c:v>
                </c:pt>
                <c:pt idx="91">
                  <c:v>24.1.–30.1.</c:v>
                </c:pt>
                <c:pt idx="92">
                  <c:v>31.1.–6.2.</c:v>
                </c:pt>
              </c:strCache>
            </c:strRef>
          </c:cat>
          <c:val>
            <c:numRef>
              <c:f>List1!$B$2:$CP$2</c:f>
              <c:numCache>
                <c:formatCode>General</c:formatCode>
                <c:ptCount val="93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5</c:v>
                </c:pt>
                <c:pt idx="79">
                  <c:v>313</c:v>
                </c:pt>
                <c:pt idx="80">
                  <c:v>90</c:v>
                </c:pt>
                <c:pt idx="81">
                  <c:v>107</c:v>
                </c:pt>
                <c:pt idx="82">
                  <c:v>119</c:v>
                </c:pt>
                <c:pt idx="83">
                  <c:v>105</c:v>
                </c:pt>
                <c:pt idx="84">
                  <c:v>173</c:v>
                </c:pt>
                <c:pt idx="85">
                  <c:v>106</c:v>
                </c:pt>
                <c:pt idx="86">
                  <c:v>70</c:v>
                </c:pt>
                <c:pt idx="87">
                  <c:v>154</c:v>
                </c:pt>
                <c:pt idx="88">
                  <c:v>46</c:v>
                </c:pt>
                <c:pt idx="89">
                  <c:v>28</c:v>
                </c:pt>
                <c:pt idx="90">
                  <c:v>222</c:v>
                </c:pt>
                <c:pt idx="91">
                  <c:v>164</c:v>
                </c:pt>
                <c:pt idx="92">
                  <c:v>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9.9717101834593827E-2"/>
                  <c:y val="-0.156140803526777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510648422761702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894669692341171"/>
                      <c:h val="9.535458664435128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99892269019648083</c:v>
                </c:pt>
                <c:pt idx="1">
                  <c:v>1.077309803519211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232741617357</c:v>
                </c:pt>
                <c:pt idx="1">
                  <c:v>0.13767258382642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11796735173054548"/>
                  <c:y val="-0.1503617376695439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430786666796995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4.5361967148006825E-2"/>
                  <c:y val="8.462190575390189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775961527084196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9217046138750753</c:v>
                </c:pt>
                <c:pt idx="1">
                  <c:v>7.829538612492473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23</c:f>
              <c:numCache>
                <c:formatCode>m/d/yyyy</c:formatCode>
                <c:ptCount val="5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</c:numCache>
            </c:numRef>
          </c:cat>
          <c:val>
            <c:numRef>
              <c:f>List1!$B$2:$B$523</c:f>
              <c:numCache>
                <c:formatCode>General</c:formatCode>
                <c:ptCount val="522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4</c:v>
                </c:pt>
                <c:pt idx="15">
                  <c:v>14</c:v>
                </c:pt>
                <c:pt idx="16">
                  <c:v>14</c:v>
                </c:pt>
                <c:pt idx="17">
                  <c:v>16</c:v>
                </c:pt>
                <c:pt idx="18">
                  <c:v>17</c:v>
                </c:pt>
                <c:pt idx="19">
                  <c:v>20</c:v>
                </c:pt>
                <c:pt idx="20">
                  <c:v>21</c:v>
                </c:pt>
                <c:pt idx="21">
                  <c:v>21</c:v>
                </c:pt>
                <c:pt idx="22">
                  <c:v>22</c:v>
                </c:pt>
                <c:pt idx="23">
                  <c:v>25</c:v>
                </c:pt>
                <c:pt idx="24">
                  <c:v>26</c:v>
                </c:pt>
                <c:pt idx="25">
                  <c:v>31</c:v>
                </c:pt>
                <c:pt idx="26">
                  <c:v>36</c:v>
                </c:pt>
                <c:pt idx="27">
                  <c:v>39</c:v>
                </c:pt>
                <c:pt idx="28">
                  <c:v>44</c:v>
                </c:pt>
                <c:pt idx="29">
                  <c:v>72</c:v>
                </c:pt>
                <c:pt idx="30">
                  <c:v>103</c:v>
                </c:pt>
                <c:pt idx="31">
                  <c:v>165</c:v>
                </c:pt>
                <c:pt idx="32">
                  <c:v>201</c:v>
                </c:pt>
                <c:pt idx="33">
                  <c:v>255</c:v>
                </c:pt>
                <c:pt idx="34">
                  <c:v>422</c:v>
                </c:pt>
                <c:pt idx="35">
                  <c:v>504</c:v>
                </c:pt>
                <c:pt idx="36">
                  <c:v>549</c:v>
                </c:pt>
                <c:pt idx="37">
                  <c:v>627</c:v>
                </c:pt>
                <c:pt idx="38">
                  <c:v>766</c:v>
                </c:pt>
                <c:pt idx="39">
                  <c:v>796</c:v>
                </c:pt>
                <c:pt idx="40">
                  <c:v>809</c:v>
                </c:pt>
                <c:pt idx="41">
                  <c:v>947</c:v>
                </c:pt>
                <c:pt idx="42">
                  <c:v>1171</c:v>
                </c:pt>
                <c:pt idx="43">
                  <c:v>1352</c:v>
                </c:pt>
                <c:pt idx="44">
                  <c:v>1548</c:v>
                </c:pt>
                <c:pt idx="45">
                  <c:v>1753</c:v>
                </c:pt>
                <c:pt idx="46">
                  <c:v>1908</c:v>
                </c:pt>
                <c:pt idx="47">
                  <c:v>1949</c:v>
                </c:pt>
                <c:pt idx="48">
                  <c:v>2191</c:v>
                </c:pt>
                <c:pt idx="49">
                  <c:v>2391</c:v>
                </c:pt>
                <c:pt idx="50">
                  <c:v>2717</c:v>
                </c:pt>
                <c:pt idx="51">
                  <c:v>2945</c:v>
                </c:pt>
                <c:pt idx="52">
                  <c:v>3366</c:v>
                </c:pt>
                <c:pt idx="53">
                  <c:v>3593</c:v>
                </c:pt>
                <c:pt idx="54">
                  <c:v>3788</c:v>
                </c:pt>
                <c:pt idx="55">
                  <c:v>4176</c:v>
                </c:pt>
                <c:pt idx="56">
                  <c:v>4700</c:v>
                </c:pt>
                <c:pt idx="57">
                  <c:v>4961</c:v>
                </c:pt>
                <c:pt idx="58">
                  <c:v>5501</c:v>
                </c:pt>
                <c:pt idx="59">
                  <c:v>6089</c:v>
                </c:pt>
                <c:pt idx="60">
                  <c:v>6426</c:v>
                </c:pt>
                <c:pt idx="61">
                  <c:v>6639</c:v>
                </c:pt>
                <c:pt idx="62">
                  <c:v>6972</c:v>
                </c:pt>
                <c:pt idx="63">
                  <c:v>7305</c:v>
                </c:pt>
                <c:pt idx="64">
                  <c:v>7729</c:v>
                </c:pt>
                <c:pt idx="65">
                  <c:v>8263</c:v>
                </c:pt>
                <c:pt idx="66">
                  <c:v>8753</c:v>
                </c:pt>
                <c:pt idx="67">
                  <c:v>8968</c:v>
                </c:pt>
                <c:pt idx="68">
                  <c:v>9046</c:v>
                </c:pt>
                <c:pt idx="69">
                  <c:v>9251</c:v>
                </c:pt>
                <c:pt idx="70">
                  <c:v>9636</c:v>
                </c:pt>
                <c:pt idx="71">
                  <c:v>10312</c:v>
                </c:pt>
                <c:pt idx="72">
                  <c:v>10811</c:v>
                </c:pt>
                <c:pt idx="73">
                  <c:v>11293</c:v>
                </c:pt>
                <c:pt idx="74">
                  <c:v>11473</c:v>
                </c:pt>
                <c:pt idx="75">
                  <c:v>11641</c:v>
                </c:pt>
                <c:pt idx="76">
                  <c:v>12026</c:v>
                </c:pt>
                <c:pt idx="77">
                  <c:v>12165</c:v>
                </c:pt>
                <c:pt idx="78">
                  <c:v>12433</c:v>
                </c:pt>
                <c:pt idx="79">
                  <c:v>12702</c:v>
                </c:pt>
                <c:pt idx="80">
                  <c:v>12943</c:v>
                </c:pt>
                <c:pt idx="81">
                  <c:v>13038</c:v>
                </c:pt>
                <c:pt idx="82">
                  <c:v>13129</c:v>
                </c:pt>
                <c:pt idx="83">
                  <c:v>13511</c:v>
                </c:pt>
                <c:pt idx="84">
                  <c:v>13711</c:v>
                </c:pt>
                <c:pt idx="85">
                  <c:v>13838</c:v>
                </c:pt>
                <c:pt idx="86">
                  <c:v>14035</c:v>
                </c:pt>
                <c:pt idx="87">
                  <c:v>14174</c:v>
                </c:pt>
                <c:pt idx="88">
                  <c:v>14252</c:v>
                </c:pt>
                <c:pt idx="89">
                  <c:v>14280</c:v>
                </c:pt>
                <c:pt idx="90">
                  <c:v>14493</c:v>
                </c:pt>
                <c:pt idx="91">
                  <c:v>14617</c:v>
                </c:pt>
                <c:pt idx="92">
                  <c:v>14751</c:v>
                </c:pt>
                <c:pt idx="93">
                  <c:v>14880</c:v>
                </c:pt>
                <c:pt idx="94">
                  <c:v>15023</c:v>
                </c:pt>
                <c:pt idx="95">
                  <c:v>15113</c:v>
                </c:pt>
                <c:pt idx="96">
                  <c:v>15133</c:v>
                </c:pt>
                <c:pt idx="97">
                  <c:v>15276</c:v>
                </c:pt>
                <c:pt idx="98">
                  <c:v>15365</c:v>
                </c:pt>
                <c:pt idx="99">
                  <c:v>15506</c:v>
                </c:pt>
                <c:pt idx="100">
                  <c:v>15590</c:v>
                </c:pt>
                <c:pt idx="101">
                  <c:v>15821</c:v>
                </c:pt>
                <c:pt idx="102">
                  <c:v>15888</c:v>
                </c:pt>
                <c:pt idx="103">
                  <c:v>15938</c:v>
                </c:pt>
                <c:pt idx="104">
                  <c:v>16087</c:v>
                </c:pt>
                <c:pt idx="105">
                  <c:v>16220</c:v>
                </c:pt>
                <c:pt idx="106">
                  <c:v>16320</c:v>
                </c:pt>
                <c:pt idx="107">
                  <c:v>16388</c:v>
                </c:pt>
                <c:pt idx="108">
                  <c:v>16611</c:v>
                </c:pt>
                <c:pt idx="109">
                  <c:v>16672</c:v>
                </c:pt>
                <c:pt idx="110">
                  <c:v>16693</c:v>
                </c:pt>
                <c:pt idx="111">
                  <c:v>16873</c:v>
                </c:pt>
                <c:pt idx="112">
                  <c:v>17050</c:v>
                </c:pt>
                <c:pt idx="113">
                  <c:v>17172</c:v>
                </c:pt>
                <c:pt idx="114">
                  <c:v>17190</c:v>
                </c:pt>
                <c:pt idx="115">
                  <c:v>17261</c:v>
                </c:pt>
                <c:pt idx="116">
                  <c:v>17339</c:v>
                </c:pt>
                <c:pt idx="117">
                  <c:v>17437</c:v>
                </c:pt>
                <c:pt idx="118">
                  <c:v>17603</c:v>
                </c:pt>
                <c:pt idx="119">
                  <c:v>17789</c:v>
                </c:pt>
                <c:pt idx="120">
                  <c:v>17934</c:v>
                </c:pt>
                <c:pt idx="121">
                  <c:v>18069</c:v>
                </c:pt>
                <c:pt idx="122">
                  <c:v>18134</c:v>
                </c:pt>
                <c:pt idx="123">
                  <c:v>18194</c:v>
                </c:pt>
                <c:pt idx="124">
                  <c:v>18236</c:v>
                </c:pt>
                <c:pt idx="125">
                  <c:v>18505</c:v>
                </c:pt>
                <c:pt idx="126">
                  <c:v>18659</c:v>
                </c:pt>
                <c:pt idx="127">
                  <c:v>18821</c:v>
                </c:pt>
                <c:pt idx="128">
                  <c:v>19053</c:v>
                </c:pt>
                <c:pt idx="129">
                  <c:v>19240</c:v>
                </c:pt>
                <c:pt idx="130">
                  <c:v>19302</c:v>
                </c:pt>
                <c:pt idx="131">
                  <c:v>19333</c:v>
                </c:pt>
                <c:pt idx="132">
                  <c:v>19574</c:v>
                </c:pt>
                <c:pt idx="133">
                  <c:v>19701</c:v>
                </c:pt>
                <c:pt idx="134">
                  <c:v>19876</c:v>
                </c:pt>
                <c:pt idx="135">
                  <c:v>19973</c:v>
                </c:pt>
                <c:pt idx="136">
                  <c:v>20059</c:v>
                </c:pt>
                <c:pt idx="137">
                  <c:v>20094</c:v>
                </c:pt>
                <c:pt idx="138">
                  <c:v>20139</c:v>
                </c:pt>
                <c:pt idx="139">
                  <c:v>20302</c:v>
                </c:pt>
                <c:pt idx="140">
                  <c:v>20383</c:v>
                </c:pt>
                <c:pt idx="141">
                  <c:v>20530</c:v>
                </c:pt>
                <c:pt idx="142">
                  <c:v>20636</c:v>
                </c:pt>
                <c:pt idx="143">
                  <c:v>20752</c:v>
                </c:pt>
                <c:pt idx="144">
                  <c:v>20805</c:v>
                </c:pt>
                <c:pt idx="145">
                  <c:v>20831</c:v>
                </c:pt>
                <c:pt idx="146">
                  <c:v>20915</c:v>
                </c:pt>
                <c:pt idx="147">
                  <c:v>20956</c:v>
                </c:pt>
                <c:pt idx="148">
                  <c:v>21051</c:v>
                </c:pt>
                <c:pt idx="149">
                  <c:v>21118</c:v>
                </c:pt>
                <c:pt idx="150">
                  <c:v>21155</c:v>
                </c:pt>
                <c:pt idx="151">
                  <c:v>21204</c:v>
                </c:pt>
                <c:pt idx="152">
                  <c:v>21214</c:v>
                </c:pt>
                <c:pt idx="153">
                  <c:v>21322</c:v>
                </c:pt>
                <c:pt idx="154">
                  <c:v>21417</c:v>
                </c:pt>
                <c:pt idx="155">
                  <c:v>21519</c:v>
                </c:pt>
                <c:pt idx="156">
                  <c:v>21602</c:v>
                </c:pt>
                <c:pt idx="157">
                  <c:v>21686</c:v>
                </c:pt>
                <c:pt idx="158">
                  <c:v>21730</c:v>
                </c:pt>
                <c:pt idx="159">
                  <c:v>21746</c:v>
                </c:pt>
                <c:pt idx="160">
                  <c:v>21811</c:v>
                </c:pt>
                <c:pt idx="161">
                  <c:v>21877</c:v>
                </c:pt>
                <c:pt idx="162">
                  <c:v>21944</c:v>
                </c:pt>
                <c:pt idx="163">
                  <c:v>22009</c:v>
                </c:pt>
                <c:pt idx="164">
                  <c:v>22062</c:v>
                </c:pt>
                <c:pt idx="165">
                  <c:v>22070</c:v>
                </c:pt>
                <c:pt idx="166">
                  <c:v>22083</c:v>
                </c:pt>
                <c:pt idx="167">
                  <c:v>22120</c:v>
                </c:pt>
                <c:pt idx="168">
                  <c:v>22137</c:v>
                </c:pt>
                <c:pt idx="169">
                  <c:v>22167</c:v>
                </c:pt>
                <c:pt idx="170">
                  <c:v>22195</c:v>
                </c:pt>
                <c:pt idx="171">
                  <c:v>22223</c:v>
                </c:pt>
                <c:pt idx="172">
                  <c:v>22241</c:v>
                </c:pt>
                <c:pt idx="173">
                  <c:v>22246</c:v>
                </c:pt>
                <c:pt idx="174">
                  <c:v>22335</c:v>
                </c:pt>
                <c:pt idx="175">
                  <c:v>22371</c:v>
                </c:pt>
                <c:pt idx="176">
                  <c:v>22405</c:v>
                </c:pt>
                <c:pt idx="177">
                  <c:v>22451</c:v>
                </c:pt>
                <c:pt idx="178">
                  <c:v>22498</c:v>
                </c:pt>
                <c:pt idx="179">
                  <c:v>22508</c:v>
                </c:pt>
                <c:pt idx="180">
                  <c:v>22511</c:v>
                </c:pt>
                <c:pt idx="181">
                  <c:v>22589</c:v>
                </c:pt>
                <c:pt idx="182">
                  <c:v>22617</c:v>
                </c:pt>
                <c:pt idx="183">
                  <c:v>22663</c:v>
                </c:pt>
                <c:pt idx="184">
                  <c:v>22674</c:v>
                </c:pt>
                <c:pt idx="185">
                  <c:v>22698</c:v>
                </c:pt>
                <c:pt idx="186">
                  <c:v>22703</c:v>
                </c:pt>
                <c:pt idx="187">
                  <c:v>22708</c:v>
                </c:pt>
                <c:pt idx="188">
                  <c:v>22735</c:v>
                </c:pt>
                <c:pt idx="189">
                  <c:v>22815</c:v>
                </c:pt>
                <c:pt idx="190">
                  <c:v>22871</c:v>
                </c:pt>
                <c:pt idx="191">
                  <c:v>22884</c:v>
                </c:pt>
                <c:pt idx="192">
                  <c:v>22910</c:v>
                </c:pt>
                <c:pt idx="193">
                  <c:v>22919</c:v>
                </c:pt>
                <c:pt idx="194">
                  <c:v>22926</c:v>
                </c:pt>
                <c:pt idx="195">
                  <c:v>22955</c:v>
                </c:pt>
                <c:pt idx="196">
                  <c:v>22976</c:v>
                </c:pt>
                <c:pt idx="197">
                  <c:v>22983</c:v>
                </c:pt>
                <c:pt idx="198">
                  <c:v>23020</c:v>
                </c:pt>
                <c:pt idx="199">
                  <c:v>23038</c:v>
                </c:pt>
                <c:pt idx="200">
                  <c:v>23047</c:v>
                </c:pt>
                <c:pt idx="201">
                  <c:v>23051</c:v>
                </c:pt>
                <c:pt idx="202">
                  <c:v>23064</c:v>
                </c:pt>
                <c:pt idx="203">
                  <c:v>23094</c:v>
                </c:pt>
                <c:pt idx="204">
                  <c:v>23114</c:v>
                </c:pt>
                <c:pt idx="205">
                  <c:v>23145</c:v>
                </c:pt>
                <c:pt idx="206">
                  <c:v>23151</c:v>
                </c:pt>
                <c:pt idx="207">
                  <c:v>23154</c:v>
                </c:pt>
                <c:pt idx="208">
                  <c:v>23158</c:v>
                </c:pt>
                <c:pt idx="209">
                  <c:v>23179</c:v>
                </c:pt>
                <c:pt idx="210">
                  <c:v>23190</c:v>
                </c:pt>
                <c:pt idx="211">
                  <c:v>23201</c:v>
                </c:pt>
                <c:pt idx="212">
                  <c:v>23210</c:v>
                </c:pt>
                <c:pt idx="213">
                  <c:v>23214</c:v>
                </c:pt>
                <c:pt idx="214">
                  <c:v>23218</c:v>
                </c:pt>
                <c:pt idx="215">
                  <c:v>23220</c:v>
                </c:pt>
                <c:pt idx="216">
                  <c:v>23221</c:v>
                </c:pt>
                <c:pt idx="217">
                  <c:v>23226</c:v>
                </c:pt>
                <c:pt idx="218">
                  <c:v>23244</c:v>
                </c:pt>
                <c:pt idx="219">
                  <c:v>23245</c:v>
                </c:pt>
                <c:pt idx="220">
                  <c:v>23248</c:v>
                </c:pt>
                <c:pt idx="221">
                  <c:v>23249</c:v>
                </c:pt>
                <c:pt idx="222">
                  <c:v>23249</c:v>
                </c:pt>
                <c:pt idx="223">
                  <c:v>23250</c:v>
                </c:pt>
                <c:pt idx="224">
                  <c:v>23252</c:v>
                </c:pt>
                <c:pt idx="225">
                  <c:v>23253</c:v>
                </c:pt>
                <c:pt idx="226">
                  <c:v>23257</c:v>
                </c:pt>
                <c:pt idx="227">
                  <c:v>23258</c:v>
                </c:pt>
                <c:pt idx="228">
                  <c:v>23259</c:v>
                </c:pt>
                <c:pt idx="229">
                  <c:v>23260</c:v>
                </c:pt>
                <c:pt idx="230">
                  <c:v>23265</c:v>
                </c:pt>
                <c:pt idx="231">
                  <c:v>23269</c:v>
                </c:pt>
                <c:pt idx="232">
                  <c:v>23272</c:v>
                </c:pt>
                <c:pt idx="233">
                  <c:v>23281</c:v>
                </c:pt>
                <c:pt idx="234">
                  <c:v>23287</c:v>
                </c:pt>
                <c:pt idx="235">
                  <c:v>23288</c:v>
                </c:pt>
                <c:pt idx="236">
                  <c:v>23288</c:v>
                </c:pt>
                <c:pt idx="237">
                  <c:v>23289</c:v>
                </c:pt>
                <c:pt idx="238">
                  <c:v>23292</c:v>
                </c:pt>
                <c:pt idx="239">
                  <c:v>23293</c:v>
                </c:pt>
                <c:pt idx="240">
                  <c:v>23295</c:v>
                </c:pt>
                <c:pt idx="241">
                  <c:v>23296</c:v>
                </c:pt>
                <c:pt idx="242">
                  <c:v>23296</c:v>
                </c:pt>
                <c:pt idx="243">
                  <c:v>23296</c:v>
                </c:pt>
                <c:pt idx="244">
                  <c:v>23298</c:v>
                </c:pt>
                <c:pt idx="245">
                  <c:v>23298</c:v>
                </c:pt>
                <c:pt idx="246">
                  <c:v>23301</c:v>
                </c:pt>
                <c:pt idx="247">
                  <c:v>23301</c:v>
                </c:pt>
                <c:pt idx="248">
                  <c:v>23302</c:v>
                </c:pt>
                <c:pt idx="249">
                  <c:v>23302</c:v>
                </c:pt>
                <c:pt idx="250">
                  <c:v>23305</c:v>
                </c:pt>
                <c:pt idx="251">
                  <c:v>23310</c:v>
                </c:pt>
                <c:pt idx="252">
                  <c:v>23312</c:v>
                </c:pt>
                <c:pt idx="253">
                  <c:v>23312</c:v>
                </c:pt>
                <c:pt idx="254">
                  <c:v>23314</c:v>
                </c:pt>
                <c:pt idx="255">
                  <c:v>23317</c:v>
                </c:pt>
                <c:pt idx="256">
                  <c:v>23318</c:v>
                </c:pt>
                <c:pt idx="257">
                  <c:v>23318</c:v>
                </c:pt>
                <c:pt idx="258">
                  <c:v>23321</c:v>
                </c:pt>
                <c:pt idx="259">
                  <c:v>23321</c:v>
                </c:pt>
                <c:pt idx="260">
                  <c:v>23323</c:v>
                </c:pt>
                <c:pt idx="261">
                  <c:v>23323</c:v>
                </c:pt>
                <c:pt idx="262">
                  <c:v>23323</c:v>
                </c:pt>
                <c:pt idx="263">
                  <c:v>23323</c:v>
                </c:pt>
                <c:pt idx="264">
                  <c:v>23323</c:v>
                </c:pt>
                <c:pt idx="265">
                  <c:v>23325</c:v>
                </c:pt>
                <c:pt idx="266">
                  <c:v>23325</c:v>
                </c:pt>
                <c:pt idx="267">
                  <c:v>23325</c:v>
                </c:pt>
                <c:pt idx="268">
                  <c:v>23325</c:v>
                </c:pt>
                <c:pt idx="269">
                  <c:v>23325</c:v>
                </c:pt>
                <c:pt idx="270">
                  <c:v>23325</c:v>
                </c:pt>
                <c:pt idx="271">
                  <c:v>23325</c:v>
                </c:pt>
                <c:pt idx="272">
                  <c:v>23325</c:v>
                </c:pt>
                <c:pt idx="273">
                  <c:v>23325</c:v>
                </c:pt>
                <c:pt idx="274">
                  <c:v>23328</c:v>
                </c:pt>
                <c:pt idx="275">
                  <c:v>23329</c:v>
                </c:pt>
                <c:pt idx="276">
                  <c:v>23329</c:v>
                </c:pt>
                <c:pt idx="277">
                  <c:v>23329</c:v>
                </c:pt>
                <c:pt idx="278">
                  <c:v>23329</c:v>
                </c:pt>
                <c:pt idx="279">
                  <c:v>23329</c:v>
                </c:pt>
                <c:pt idx="280">
                  <c:v>23329</c:v>
                </c:pt>
                <c:pt idx="281">
                  <c:v>23329</c:v>
                </c:pt>
                <c:pt idx="282">
                  <c:v>23329</c:v>
                </c:pt>
                <c:pt idx="283">
                  <c:v>23330</c:v>
                </c:pt>
                <c:pt idx="284">
                  <c:v>23330</c:v>
                </c:pt>
                <c:pt idx="285">
                  <c:v>23330</c:v>
                </c:pt>
                <c:pt idx="286">
                  <c:v>23330</c:v>
                </c:pt>
                <c:pt idx="287">
                  <c:v>23330</c:v>
                </c:pt>
                <c:pt idx="288">
                  <c:v>23330</c:v>
                </c:pt>
                <c:pt idx="289">
                  <c:v>23331</c:v>
                </c:pt>
                <c:pt idx="290">
                  <c:v>23331</c:v>
                </c:pt>
                <c:pt idx="291">
                  <c:v>23331</c:v>
                </c:pt>
                <c:pt idx="292">
                  <c:v>23331</c:v>
                </c:pt>
                <c:pt idx="293">
                  <c:v>23331</c:v>
                </c:pt>
                <c:pt idx="294">
                  <c:v>23331</c:v>
                </c:pt>
                <c:pt idx="295">
                  <c:v>23332</c:v>
                </c:pt>
                <c:pt idx="296">
                  <c:v>23333</c:v>
                </c:pt>
                <c:pt idx="297">
                  <c:v>23333</c:v>
                </c:pt>
                <c:pt idx="298">
                  <c:v>23333</c:v>
                </c:pt>
                <c:pt idx="299">
                  <c:v>23333</c:v>
                </c:pt>
                <c:pt idx="300">
                  <c:v>23333</c:v>
                </c:pt>
                <c:pt idx="301">
                  <c:v>23333</c:v>
                </c:pt>
                <c:pt idx="302">
                  <c:v>23333</c:v>
                </c:pt>
                <c:pt idx="303">
                  <c:v>23334</c:v>
                </c:pt>
                <c:pt idx="304">
                  <c:v>23334</c:v>
                </c:pt>
                <c:pt idx="305">
                  <c:v>23334</c:v>
                </c:pt>
                <c:pt idx="306">
                  <c:v>23335</c:v>
                </c:pt>
                <c:pt idx="307">
                  <c:v>23335</c:v>
                </c:pt>
                <c:pt idx="308">
                  <c:v>23335</c:v>
                </c:pt>
                <c:pt idx="309">
                  <c:v>23335</c:v>
                </c:pt>
                <c:pt idx="310">
                  <c:v>23336</c:v>
                </c:pt>
                <c:pt idx="311">
                  <c:v>23336</c:v>
                </c:pt>
                <c:pt idx="312">
                  <c:v>23336</c:v>
                </c:pt>
                <c:pt idx="313">
                  <c:v>23336</c:v>
                </c:pt>
                <c:pt idx="314">
                  <c:v>23336</c:v>
                </c:pt>
                <c:pt idx="315">
                  <c:v>23336</c:v>
                </c:pt>
                <c:pt idx="316">
                  <c:v>23336</c:v>
                </c:pt>
                <c:pt idx="317">
                  <c:v>23336</c:v>
                </c:pt>
                <c:pt idx="318">
                  <c:v>23336</c:v>
                </c:pt>
                <c:pt idx="319">
                  <c:v>23336</c:v>
                </c:pt>
                <c:pt idx="320">
                  <c:v>23336</c:v>
                </c:pt>
                <c:pt idx="321">
                  <c:v>23336</c:v>
                </c:pt>
                <c:pt idx="322">
                  <c:v>23336</c:v>
                </c:pt>
                <c:pt idx="323">
                  <c:v>23336</c:v>
                </c:pt>
                <c:pt idx="324">
                  <c:v>23336</c:v>
                </c:pt>
                <c:pt idx="325">
                  <c:v>23336</c:v>
                </c:pt>
                <c:pt idx="326">
                  <c:v>23337</c:v>
                </c:pt>
                <c:pt idx="327">
                  <c:v>23337</c:v>
                </c:pt>
                <c:pt idx="328">
                  <c:v>23337</c:v>
                </c:pt>
                <c:pt idx="329">
                  <c:v>23337</c:v>
                </c:pt>
                <c:pt idx="330">
                  <c:v>23337</c:v>
                </c:pt>
                <c:pt idx="331">
                  <c:v>23337</c:v>
                </c:pt>
                <c:pt idx="332">
                  <c:v>23337</c:v>
                </c:pt>
                <c:pt idx="333">
                  <c:v>23337</c:v>
                </c:pt>
                <c:pt idx="334">
                  <c:v>23337</c:v>
                </c:pt>
                <c:pt idx="335">
                  <c:v>23337</c:v>
                </c:pt>
                <c:pt idx="336">
                  <c:v>23337</c:v>
                </c:pt>
                <c:pt idx="337">
                  <c:v>23337</c:v>
                </c:pt>
                <c:pt idx="338">
                  <c:v>23337</c:v>
                </c:pt>
                <c:pt idx="339">
                  <c:v>23337</c:v>
                </c:pt>
                <c:pt idx="340">
                  <c:v>23337</c:v>
                </c:pt>
                <c:pt idx="341">
                  <c:v>23337</c:v>
                </c:pt>
                <c:pt idx="342">
                  <c:v>23337</c:v>
                </c:pt>
                <c:pt idx="343">
                  <c:v>23337</c:v>
                </c:pt>
                <c:pt idx="344">
                  <c:v>23337</c:v>
                </c:pt>
                <c:pt idx="345">
                  <c:v>23337</c:v>
                </c:pt>
                <c:pt idx="346">
                  <c:v>23337</c:v>
                </c:pt>
                <c:pt idx="347">
                  <c:v>23337</c:v>
                </c:pt>
                <c:pt idx="348">
                  <c:v>23337</c:v>
                </c:pt>
                <c:pt idx="349">
                  <c:v>23338</c:v>
                </c:pt>
                <c:pt idx="350">
                  <c:v>23339</c:v>
                </c:pt>
                <c:pt idx="351">
                  <c:v>23339</c:v>
                </c:pt>
                <c:pt idx="352">
                  <c:v>23340</c:v>
                </c:pt>
                <c:pt idx="353">
                  <c:v>23340</c:v>
                </c:pt>
                <c:pt idx="354">
                  <c:v>23340</c:v>
                </c:pt>
                <c:pt idx="355">
                  <c:v>23340</c:v>
                </c:pt>
                <c:pt idx="356">
                  <c:v>23342</c:v>
                </c:pt>
                <c:pt idx="357">
                  <c:v>23342</c:v>
                </c:pt>
                <c:pt idx="358">
                  <c:v>23342</c:v>
                </c:pt>
                <c:pt idx="359">
                  <c:v>23342</c:v>
                </c:pt>
                <c:pt idx="360">
                  <c:v>23342</c:v>
                </c:pt>
                <c:pt idx="361">
                  <c:v>23342</c:v>
                </c:pt>
                <c:pt idx="362">
                  <c:v>23342</c:v>
                </c:pt>
                <c:pt idx="363">
                  <c:v>23342</c:v>
                </c:pt>
                <c:pt idx="364">
                  <c:v>23342</c:v>
                </c:pt>
                <c:pt idx="365">
                  <c:v>23343</c:v>
                </c:pt>
                <c:pt idx="366">
                  <c:v>23347</c:v>
                </c:pt>
                <c:pt idx="367">
                  <c:v>23349</c:v>
                </c:pt>
                <c:pt idx="368">
                  <c:v>23350</c:v>
                </c:pt>
                <c:pt idx="369">
                  <c:v>23350</c:v>
                </c:pt>
                <c:pt idx="370">
                  <c:v>23354</c:v>
                </c:pt>
                <c:pt idx="371">
                  <c:v>23354</c:v>
                </c:pt>
                <c:pt idx="372">
                  <c:v>23354</c:v>
                </c:pt>
                <c:pt idx="373">
                  <c:v>23355</c:v>
                </c:pt>
                <c:pt idx="374">
                  <c:v>23355</c:v>
                </c:pt>
                <c:pt idx="375">
                  <c:v>23355</c:v>
                </c:pt>
                <c:pt idx="376">
                  <c:v>23355</c:v>
                </c:pt>
                <c:pt idx="377">
                  <c:v>23356</c:v>
                </c:pt>
                <c:pt idx="378">
                  <c:v>23356</c:v>
                </c:pt>
                <c:pt idx="379">
                  <c:v>23356</c:v>
                </c:pt>
                <c:pt idx="380">
                  <c:v>23356</c:v>
                </c:pt>
                <c:pt idx="381">
                  <c:v>23356</c:v>
                </c:pt>
                <c:pt idx="382">
                  <c:v>23356</c:v>
                </c:pt>
                <c:pt idx="383">
                  <c:v>23356</c:v>
                </c:pt>
                <c:pt idx="384">
                  <c:v>23357</c:v>
                </c:pt>
                <c:pt idx="385">
                  <c:v>23361</c:v>
                </c:pt>
                <c:pt idx="386">
                  <c:v>23362</c:v>
                </c:pt>
                <c:pt idx="387">
                  <c:v>23362</c:v>
                </c:pt>
                <c:pt idx="388">
                  <c:v>23362</c:v>
                </c:pt>
                <c:pt idx="389">
                  <c:v>23362</c:v>
                </c:pt>
                <c:pt idx="390">
                  <c:v>23362</c:v>
                </c:pt>
                <c:pt idx="391">
                  <c:v>23364</c:v>
                </c:pt>
                <c:pt idx="392">
                  <c:v>23364</c:v>
                </c:pt>
                <c:pt idx="393">
                  <c:v>23365</c:v>
                </c:pt>
                <c:pt idx="394">
                  <c:v>23365</c:v>
                </c:pt>
                <c:pt idx="395">
                  <c:v>23366</c:v>
                </c:pt>
                <c:pt idx="396">
                  <c:v>23367</c:v>
                </c:pt>
                <c:pt idx="397">
                  <c:v>23368</c:v>
                </c:pt>
                <c:pt idx="398">
                  <c:v>23370</c:v>
                </c:pt>
                <c:pt idx="399">
                  <c:v>23372</c:v>
                </c:pt>
                <c:pt idx="400">
                  <c:v>23383</c:v>
                </c:pt>
                <c:pt idx="401">
                  <c:v>23385</c:v>
                </c:pt>
                <c:pt idx="402">
                  <c:v>23410</c:v>
                </c:pt>
                <c:pt idx="403">
                  <c:v>23411</c:v>
                </c:pt>
                <c:pt idx="404">
                  <c:v>23411</c:v>
                </c:pt>
                <c:pt idx="405">
                  <c:v>23412</c:v>
                </c:pt>
                <c:pt idx="406">
                  <c:v>23412</c:v>
                </c:pt>
                <c:pt idx="407">
                  <c:v>23432</c:v>
                </c:pt>
                <c:pt idx="408">
                  <c:v>23435</c:v>
                </c:pt>
                <c:pt idx="409">
                  <c:v>23437</c:v>
                </c:pt>
                <c:pt idx="410">
                  <c:v>23437</c:v>
                </c:pt>
                <c:pt idx="411">
                  <c:v>23437</c:v>
                </c:pt>
                <c:pt idx="412">
                  <c:v>23443</c:v>
                </c:pt>
                <c:pt idx="413">
                  <c:v>23448</c:v>
                </c:pt>
                <c:pt idx="414">
                  <c:v>23452</c:v>
                </c:pt>
                <c:pt idx="415">
                  <c:v>23454</c:v>
                </c:pt>
                <c:pt idx="416">
                  <c:v>23459</c:v>
                </c:pt>
                <c:pt idx="417">
                  <c:v>23460</c:v>
                </c:pt>
                <c:pt idx="418">
                  <c:v>23461</c:v>
                </c:pt>
                <c:pt idx="419">
                  <c:v>23475</c:v>
                </c:pt>
                <c:pt idx="420">
                  <c:v>23484</c:v>
                </c:pt>
                <c:pt idx="421">
                  <c:v>23495</c:v>
                </c:pt>
                <c:pt idx="422">
                  <c:v>23495</c:v>
                </c:pt>
                <c:pt idx="423">
                  <c:v>23513</c:v>
                </c:pt>
                <c:pt idx="424">
                  <c:v>23520</c:v>
                </c:pt>
                <c:pt idx="425">
                  <c:v>23531</c:v>
                </c:pt>
                <c:pt idx="426">
                  <c:v>23566</c:v>
                </c:pt>
                <c:pt idx="427">
                  <c:v>23580</c:v>
                </c:pt>
                <c:pt idx="428">
                  <c:v>23596</c:v>
                </c:pt>
                <c:pt idx="429">
                  <c:v>23648</c:v>
                </c:pt>
                <c:pt idx="430">
                  <c:v>23671</c:v>
                </c:pt>
                <c:pt idx="431">
                  <c:v>23677</c:v>
                </c:pt>
                <c:pt idx="432">
                  <c:v>23682</c:v>
                </c:pt>
                <c:pt idx="433">
                  <c:v>23711</c:v>
                </c:pt>
                <c:pt idx="434">
                  <c:v>23740</c:v>
                </c:pt>
                <c:pt idx="435">
                  <c:v>23755</c:v>
                </c:pt>
                <c:pt idx="436">
                  <c:v>23773</c:v>
                </c:pt>
                <c:pt idx="437">
                  <c:v>23790</c:v>
                </c:pt>
                <c:pt idx="438">
                  <c:v>23803</c:v>
                </c:pt>
                <c:pt idx="439">
                  <c:v>23817</c:v>
                </c:pt>
                <c:pt idx="440">
                  <c:v>23860</c:v>
                </c:pt>
                <c:pt idx="441">
                  <c:v>23892</c:v>
                </c:pt>
                <c:pt idx="442">
                  <c:v>23917</c:v>
                </c:pt>
                <c:pt idx="443">
                  <c:v>23972</c:v>
                </c:pt>
                <c:pt idx="444">
                  <c:v>24057</c:v>
                </c:pt>
                <c:pt idx="445">
                  <c:v>24083</c:v>
                </c:pt>
                <c:pt idx="446">
                  <c:v>24092</c:v>
                </c:pt>
                <c:pt idx="447">
                  <c:v>24140</c:v>
                </c:pt>
                <c:pt idx="448">
                  <c:v>24163</c:v>
                </c:pt>
                <c:pt idx="449">
                  <c:v>24205</c:v>
                </c:pt>
                <c:pt idx="450">
                  <c:v>24234</c:v>
                </c:pt>
                <c:pt idx="451">
                  <c:v>24286</c:v>
                </c:pt>
                <c:pt idx="452">
                  <c:v>24291</c:v>
                </c:pt>
                <c:pt idx="453">
                  <c:v>24298</c:v>
                </c:pt>
                <c:pt idx="454">
                  <c:v>24342</c:v>
                </c:pt>
                <c:pt idx="455">
                  <c:v>24356</c:v>
                </c:pt>
                <c:pt idx="456">
                  <c:v>24386</c:v>
                </c:pt>
                <c:pt idx="457">
                  <c:v>24417</c:v>
                </c:pt>
                <c:pt idx="458">
                  <c:v>24430</c:v>
                </c:pt>
                <c:pt idx="459">
                  <c:v>24468</c:v>
                </c:pt>
                <c:pt idx="460">
                  <c:v>24475</c:v>
                </c:pt>
                <c:pt idx="461">
                  <c:v>24505</c:v>
                </c:pt>
                <c:pt idx="462">
                  <c:v>24527</c:v>
                </c:pt>
                <c:pt idx="463">
                  <c:v>24545</c:v>
                </c:pt>
                <c:pt idx="464">
                  <c:v>24576</c:v>
                </c:pt>
                <c:pt idx="465">
                  <c:v>24605</c:v>
                </c:pt>
                <c:pt idx="466">
                  <c:v>24611</c:v>
                </c:pt>
                <c:pt idx="467">
                  <c:v>24611</c:v>
                </c:pt>
                <c:pt idx="468">
                  <c:v>24627</c:v>
                </c:pt>
                <c:pt idx="469">
                  <c:v>24654</c:v>
                </c:pt>
                <c:pt idx="470">
                  <c:v>24669</c:v>
                </c:pt>
                <c:pt idx="471">
                  <c:v>24676</c:v>
                </c:pt>
                <c:pt idx="472">
                  <c:v>24688</c:v>
                </c:pt>
                <c:pt idx="473">
                  <c:v>24690</c:v>
                </c:pt>
                <c:pt idx="474">
                  <c:v>24693</c:v>
                </c:pt>
                <c:pt idx="475">
                  <c:v>24707</c:v>
                </c:pt>
                <c:pt idx="476">
                  <c:v>24715</c:v>
                </c:pt>
                <c:pt idx="477">
                  <c:v>24718</c:v>
                </c:pt>
                <c:pt idx="478">
                  <c:v>24723</c:v>
                </c:pt>
                <c:pt idx="479">
                  <c:v>24723</c:v>
                </c:pt>
                <c:pt idx="480">
                  <c:v>24728</c:v>
                </c:pt>
                <c:pt idx="481">
                  <c:v>24728</c:v>
                </c:pt>
                <c:pt idx="482">
                  <c:v>24738</c:v>
                </c:pt>
                <c:pt idx="483">
                  <c:v>24744</c:v>
                </c:pt>
                <c:pt idx="484">
                  <c:v>24749</c:v>
                </c:pt>
                <c:pt idx="485">
                  <c:v>24751</c:v>
                </c:pt>
                <c:pt idx="486">
                  <c:v>24761</c:v>
                </c:pt>
                <c:pt idx="487">
                  <c:v>24763</c:v>
                </c:pt>
                <c:pt idx="488">
                  <c:v>24763</c:v>
                </c:pt>
                <c:pt idx="489">
                  <c:v>24767</c:v>
                </c:pt>
                <c:pt idx="490">
                  <c:v>24772</c:v>
                </c:pt>
                <c:pt idx="491">
                  <c:v>24779</c:v>
                </c:pt>
                <c:pt idx="492">
                  <c:v>24785</c:v>
                </c:pt>
                <c:pt idx="493">
                  <c:v>24791</c:v>
                </c:pt>
                <c:pt idx="494">
                  <c:v>24792</c:v>
                </c:pt>
                <c:pt idx="495">
                  <c:v>24794</c:v>
                </c:pt>
                <c:pt idx="496">
                  <c:v>24795</c:v>
                </c:pt>
                <c:pt idx="497">
                  <c:v>24803</c:v>
                </c:pt>
                <c:pt idx="498">
                  <c:v>24806</c:v>
                </c:pt>
                <c:pt idx="499">
                  <c:v>24810</c:v>
                </c:pt>
                <c:pt idx="500">
                  <c:v>24818</c:v>
                </c:pt>
                <c:pt idx="501">
                  <c:v>24819</c:v>
                </c:pt>
                <c:pt idx="502">
                  <c:v>24823</c:v>
                </c:pt>
                <c:pt idx="503">
                  <c:v>24841</c:v>
                </c:pt>
                <c:pt idx="504">
                  <c:v>24852</c:v>
                </c:pt>
                <c:pt idx="505">
                  <c:v>24863</c:v>
                </c:pt>
                <c:pt idx="506">
                  <c:v>24883</c:v>
                </c:pt>
                <c:pt idx="507">
                  <c:v>24898</c:v>
                </c:pt>
                <c:pt idx="508">
                  <c:v>24930</c:v>
                </c:pt>
                <c:pt idx="509">
                  <c:v>24936</c:v>
                </c:pt>
                <c:pt idx="510">
                  <c:v>24980</c:v>
                </c:pt>
                <c:pt idx="511">
                  <c:v>25021</c:v>
                </c:pt>
                <c:pt idx="512">
                  <c:v>25066</c:v>
                </c:pt>
                <c:pt idx="513">
                  <c:v>25086</c:v>
                </c:pt>
                <c:pt idx="514">
                  <c:v>25144</c:v>
                </c:pt>
                <c:pt idx="515">
                  <c:v>25149</c:v>
                </c:pt>
                <c:pt idx="516">
                  <c:v>25152</c:v>
                </c:pt>
                <c:pt idx="517">
                  <c:v>25184</c:v>
                </c:pt>
                <c:pt idx="518">
                  <c:v>25248</c:v>
                </c:pt>
                <c:pt idx="519">
                  <c:v>25295</c:v>
                </c:pt>
                <c:pt idx="520">
                  <c:v>25325</c:v>
                </c:pt>
                <c:pt idx="521">
                  <c:v>253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23</c:f>
              <c:numCache>
                <c:formatCode>m/d/yyyy</c:formatCode>
                <c:ptCount val="5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</c:numCache>
            </c:numRef>
          </c:cat>
          <c:val>
            <c:numRef>
              <c:f>List1!$C$2:$C$523</c:f>
              <c:numCache>
                <c:formatCode>General</c:formatCode>
                <c:ptCount val="52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9</c:v>
                </c:pt>
                <c:pt idx="13">
                  <c:v>12</c:v>
                </c:pt>
                <c:pt idx="14">
                  <c:v>13</c:v>
                </c:pt>
                <c:pt idx="15">
                  <c:v>15</c:v>
                </c:pt>
                <c:pt idx="16">
                  <c:v>17</c:v>
                </c:pt>
                <c:pt idx="17">
                  <c:v>19</c:v>
                </c:pt>
                <c:pt idx="18">
                  <c:v>20</c:v>
                </c:pt>
                <c:pt idx="19">
                  <c:v>24</c:v>
                </c:pt>
                <c:pt idx="20">
                  <c:v>29</c:v>
                </c:pt>
                <c:pt idx="21">
                  <c:v>34</c:v>
                </c:pt>
                <c:pt idx="22">
                  <c:v>35</c:v>
                </c:pt>
                <c:pt idx="23">
                  <c:v>39</c:v>
                </c:pt>
                <c:pt idx="24">
                  <c:v>51</c:v>
                </c:pt>
                <c:pt idx="25">
                  <c:v>58</c:v>
                </c:pt>
                <c:pt idx="26">
                  <c:v>60</c:v>
                </c:pt>
                <c:pt idx="27">
                  <c:v>64</c:v>
                </c:pt>
                <c:pt idx="28">
                  <c:v>89</c:v>
                </c:pt>
                <c:pt idx="29">
                  <c:v>99</c:v>
                </c:pt>
                <c:pt idx="30">
                  <c:v>129</c:v>
                </c:pt>
                <c:pt idx="31">
                  <c:v>225</c:v>
                </c:pt>
                <c:pt idx="32">
                  <c:v>256</c:v>
                </c:pt>
                <c:pt idx="33">
                  <c:v>287</c:v>
                </c:pt>
                <c:pt idx="34">
                  <c:v>380</c:v>
                </c:pt>
                <c:pt idx="35">
                  <c:v>427</c:v>
                </c:pt>
                <c:pt idx="36">
                  <c:v>470</c:v>
                </c:pt>
                <c:pt idx="37">
                  <c:v>556</c:v>
                </c:pt>
                <c:pt idx="38">
                  <c:v>645</c:v>
                </c:pt>
                <c:pt idx="39">
                  <c:v>696</c:v>
                </c:pt>
                <c:pt idx="40">
                  <c:v>721</c:v>
                </c:pt>
                <c:pt idx="41">
                  <c:v>891</c:v>
                </c:pt>
                <c:pt idx="42">
                  <c:v>1051</c:v>
                </c:pt>
                <c:pt idx="43">
                  <c:v>1246</c:v>
                </c:pt>
                <c:pt idx="44">
                  <c:v>1449</c:v>
                </c:pt>
                <c:pt idx="45">
                  <c:v>1662</c:v>
                </c:pt>
                <c:pt idx="46">
                  <c:v>1769</c:v>
                </c:pt>
                <c:pt idx="47">
                  <c:v>1818</c:v>
                </c:pt>
                <c:pt idx="48">
                  <c:v>2012</c:v>
                </c:pt>
                <c:pt idx="49">
                  <c:v>2210</c:v>
                </c:pt>
                <c:pt idx="50">
                  <c:v>2478</c:v>
                </c:pt>
                <c:pt idx="51">
                  <c:v>2716</c:v>
                </c:pt>
                <c:pt idx="52">
                  <c:v>3056</c:v>
                </c:pt>
                <c:pt idx="53">
                  <c:v>3244</c:v>
                </c:pt>
                <c:pt idx="54">
                  <c:v>3334</c:v>
                </c:pt>
                <c:pt idx="55">
                  <c:v>3715</c:v>
                </c:pt>
                <c:pt idx="56">
                  <c:v>4123</c:v>
                </c:pt>
                <c:pt idx="57">
                  <c:v>4259</c:v>
                </c:pt>
                <c:pt idx="58">
                  <c:v>4734</c:v>
                </c:pt>
                <c:pt idx="59">
                  <c:v>5073</c:v>
                </c:pt>
                <c:pt idx="60">
                  <c:v>5259</c:v>
                </c:pt>
                <c:pt idx="61">
                  <c:v>5378</c:v>
                </c:pt>
                <c:pt idx="62">
                  <c:v>5684</c:v>
                </c:pt>
                <c:pt idx="63">
                  <c:v>5919</c:v>
                </c:pt>
                <c:pt idx="64">
                  <c:v>6256</c:v>
                </c:pt>
                <c:pt idx="65">
                  <c:v>6545</c:v>
                </c:pt>
                <c:pt idx="66">
                  <c:v>6789</c:v>
                </c:pt>
                <c:pt idx="67">
                  <c:v>6907</c:v>
                </c:pt>
                <c:pt idx="68">
                  <c:v>6958</c:v>
                </c:pt>
                <c:pt idx="69">
                  <c:v>7161</c:v>
                </c:pt>
                <c:pt idx="70">
                  <c:v>7368</c:v>
                </c:pt>
                <c:pt idx="71">
                  <c:v>7634</c:v>
                </c:pt>
                <c:pt idx="72">
                  <c:v>7871</c:v>
                </c:pt>
                <c:pt idx="73">
                  <c:v>8078</c:v>
                </c:pt>
                <c:pt idx="74">
                  <c:v>8153</c:v>
                </c:pt>
                <c:pt idx="75">
                  <c:v>8184</c:v>
                </c:pt>
                <c:pt idx="76">
                  <c:v>8377</c:v>
                </c:pt>
                <c:pt idx="77">
                  <c:v>8425</c:v>
                </c:pt>
                <c:pt idx="78">
                  <c:v>8589</c:v>
                </c:pt>
                <c:pt idx="79">
                  <c:v>8721</c:v>
                </c:pt>
                <c:pt idx="80">
                  <c:v>8845</c:v>
                </c:pt>
                <c:pt idx="81">
                  <c:v>8884</c:v>
                </c:pt>
                <c:pt idx="82">
                  <c:v>8901</c:v>
                </c:pt>
                <c:pt idx="83">
                  <c:v>9044</c:v>
                </c:pt>
                <c:pt idx="84">
                  <c:v>9153</c:v>
                </c:pt>
                <c:pt idx="85">
                  <c:v>9247</c:v>
                </c:pt>
                <c:pt idx="86">
                  <c:v>9304</c:v>
                </c:pt>
                <c:pt idx="87">
                  <c:v>9386</c:v>
                </c:pt>
                <c:pt idx="88">
                  <c:v>9409</c:v>
                </c:pt>
                <c:pt idx="89">
                  <c:v>9425</c:v>
                </c:pt>
                <c:pt idx="90">
                  <c:v>9531</c:v>
                </c:pt>
                <c:pt idx="91">
                  <c:v>9620</c:v>
                </c:pt>
                <c:pt idx="92">
                  <c:v>9689</c:v>
                </c:pt>
                <c:pt idx="93">
                  <c:v>9749</c:v>
                </c:pt>
                <c:pt idx="94">
                  <c:v>9840</c:v>
                </c:pt>
                <c:pt idx="95">
                  <c:v>9880</c:v>
                </c:pt>
                <c:pt idx="96">
                  <c:v>9907</c:v>
                </c:pt>
                <c:pt idx="97">
                  <c:v>10028</c:v>
                </c:pt>
                <c:pt idx="98">
                  <c:v>10105</c:v>
                </c:pt>
                <c:pt idx="99">
                  <c:v>10169</c:v>
                </c:pt>
                <c:pt idx="100">
                  <c:v>10229</c:v>
                </c:pt>
                <c:pt idx="101">
                  <c:v>10307</c:v>
                </c:pt>
                <c:pt idx="102">
                  <c:v>10328</c:v>
                </c:pt>
                <c:pt idx="103">
                  <c:v>10345</c:v>
                </c:pt>
                <c:pt idx="104">
                  <c:v>10480</c:v>
                </c:pt>
                <c:pt idx="105">
                  <c:v>10552</c:v>
                </c:pt>
                <c:pt idx="106">
                  <c:v>10648</c:v>
                </c:pt>
                <c:pt idx="107">
                  <c:v>10700</c:v>
                </c:pt>
                <c:pt idx="108">
                  <c:v>10784</c:v>
                </c:pt>
                <c:pt idx="109">
                  <c:v>10813</c:v>
                </c:pt>
                <c:pt idx="110">
                  <c:v>10841</c:v>
                </c:pt>
                <c:pt idx="111">
                  <c:v>11003</c:v>
                </c:pt>
                <c:pt idx="112">
                  <c:v>11116</c:v>
                </c:pt>
                <c:pt idx="113">
                  <c:v>11237</c:v>
                </c:pt>
                <c:pt idx="114">
                  <c:v>11268</c:v>
                </c:pt>
                <c:pt idx="115">
                  <c:v>11317</c:v>
                </c:pt>
                <c:pt idx="116">
                  <c:v>11369</c:v>
                </c:pt>
                <c:pt idx="117">
                  <c:v>11417</c:v>
                </c:pt>
                <c:pt idx="118">
                  <c:v>11613</c:v>
                </c:pt>
                <c:pt idx="119">
                  <c:v>11761</c:v>
                </c:pt>
                <c:pt idx="120">
                  <c:v>11874</c:v>
                </c:pt>
                <c:pt idx="121">
                  <c:v>11964</c:v>
                </c:pt>
                <c:pt idx="122">
                  <c:v>11995</c:v>
                </c:pt>
                <c:pt idx="123">
                  <c:v>12058</c:v>
                </c:pt>
                <c:pt idx="124">
                  <c:v>12093</c:v>
                </c:pt>
                <c:pt idx="125">
                  <c:v>12375</c:v>
                </c:pt>
                <c:pt idx="126">
                  <c:v>12523</c:v>
                </c:pt>
                <c:pt idx="127">
                  <c:v>12637</c:v>
                </c:pt>
                <c:pt idx="128">
                  <c:v>12741</c:v>
                </c:pt>
                <c:pt idx="129">
                  <c:v>12867</c:v>
                </c:pt>
                <c:pt idx="130">
                  <c:v>12917</c:v>
                </c:pt>
                <c:pt idx="131">
                  <c:v>12944</c:v>
                </c:pt>
                <c:pt idx="132">
                  <c:v>13181</c:v>
                </c:pt>
                <c:pt idx="133">
                  <c:v>13280</c:v>
                </c:pt>
                <c:pt idx="134">
                  <c:v>13391</c:v>
                </c:pt>
                <c:pt idx="135">
                  <c:v>13447</c:v>
                </c:pt>
                <c:pt idx="136">
                  <c:v>13514</c:v>
                </c:pt>
                <c:pt idx="137">
                  <c:v>13548</c:v>
                </c:pt>
                <c:pt idx="138">
                  <c:v>13577</c:v>
                </c:pt>
                <c:pt idx="139">
                  <c:v>13707</c:v>
                </c:pt>
                <c:pt idx="140">
                  <c:v>13784</c:v>
                </c:pt>
                <c:pt idx="141">
                  <c:v>13856</c:v>
                </c:pt>
                <c:pt idx="142">
                  <c:v>13918</c:v>
                </c:pt>
                <c:pt idx="143">
                  <c:v>13998</c:v>
                </c:pt>
                <c:pt idx="144">
                  <c:v>14026</c:v>
                </c:pt>
                <c:pt idx="145">
                  <c:v>14039</c:v>
                </c:pt>
                <c:pt idx="146">
                  <c:v>14129</c:v>
                </c:pt>
                <c:pt idx="147">
                  <c:v>14206</c:v>
                </c:pt>
                <c:pt idx="148">
                  <c:v>14266</c:v>
                </c:pt>
                <c:pt idx="149">
                  <c:v>14299</c:v>
                </c:pt>
                <c:pt idx="150">
                  <c:v>14347</c:v>
                </c:pt>
                <c:pt idx="151">
                  <c:v>14377</c:v>
                </c:pt>
                <c:pt idx="152">
                  <c:v>14389</c:v>
                </c:pt>
                <c:pt idx="153">
                  <c:v>14471</c:v>
                </c:pt>
                <c:pt idx="154">
                  <c:v>14543</c:v>
                </c:pt>
                <c:pt idx="155">
                  <c:v>14602</c:v>
                </c:pt>
                <c:pt idx="156">
                  <c:v>14648</c:v>
                </c:pt>
                <c:pt idx="157">
                  <c:v>14697</c:v>
                </c:pt>
                <c:pt idx="158">
                  <c:v>14708</c:v>
                </c:pt>
                <c:pt idx="159">
                  <c:v>14726</c:v>
                </c:pt>
                <c:pt idx="160">
                  <c:v>14800</c:v>
                </c:pt>
                <c:pt idx="161">
                  <c:v>14822</c:v>
                </c:pt>
                <c:pt idx="162">
                  <c:v>14856</c:v>
                </c:pt>
                <c:pt idx="163">
                  <c:v>14897</c:v>
                </c:pt>
                <c:pt idx="164">
                  <c:v>14937</c:v>
                </c:pt>
                <c:pt idx="165">
                  <c:v>14952</c:v>
                </c:pt>
                <c:pt idx="166">
                  <c:v>14965</c:v>
                </c:pt>
                <c:pt idx="167">
                  <c:v>15028</c:v>
                </c:pt>
                <c:pt idx="168">
                  <c:v>15061</c:v>
                </c:pt>
                <c:pt idx="169">
                  <c:v>15097</c:v>
                </c:pt>
                <c:pt idx="170">
                  <c:v>15131</c:v>
                </c:pt>
                <c:pt idx="171">
                  <c:v>15167</c:v>
                </c:pt>
                <c:pt idx="172">
                  <c:v>15173</c:v>
                </c:pt>
                <c:pt idx="173">
                  <c:v>15194</c:v>
                </c:pt>
                <c:pt idx="174">
                  <c:v>15272</c:v>
                </c:pt>
                <c:pt idx="175">
                  <c:v>15318</c:v>
                </c:pt>
                <c:pt idx="176">
                  <c:v>15353</c:v>
                </c:pt>
                <c:pt idx="177">
                  <c:v>15386</c:v>
                </c:pt>
                <c:pt idx="178">
                  <c:v>15426</c:v>
                </c:pt>
                <c:pt idx="179">
                  <c:v>15436</c:v>
                </c:pt>
                <c:pt idx="180">
                  <c:v>15445</c:v>
                </c:pt>
                <c:pt idx="181">
                  <c:v>15504</c:v>
                </c:pt>
                <c:pt idx="182">
                  <c:v>15544</c:v>
                </c:pt>
                <c:pt idx="183">
                  <c:v>15601</c:v>
                </c:pt>
                <c:pt idx="184">
                  <c:v>15646</c:v>
                </c:pt>
                <c:pt idx="185">
                  <c:v>15677</c:v>
                </c:pt>
                <c:pt idx="186">
                  <c:v>15691</c:v>
                </c:pt>
                <c:pt idx="187">
                  <c:v>15702</c:v>
                </c:pt>
                <c:pt idx="188">
                  <c:v>15765</c:v>
                </c:pt>
                <c:pt idx="189">
                  <c:v>15802</c:v>
                </c:pt>
                <c:pt idx="190">
                  <c:v>15832</c:v>
                </c:pt>
                <c:pt idx="191">
                  <c:v>15858</c:v>
                </c:pt>
                <c:pt idx="192">
                  <c:v>15877</c:v>
                </c:pt>
                <c:pt idx="193">
                  <c:v>15889</c:v>
                </c:pt>
                <c:pt idx="194">
                  <c:v>15896</c:v>
                </c:pt>
                <c:pt idx="195">
                  <c:v>15935</c:v>
                </c:pt>
                <c:pt idx="196">
                  <c:v>15960</c:v>
                </c:pt>
                <c:pt idx="197">
                  <c:v>15986</c:v>
                </c:pt>
                <c:pt idx="198">
                  <c:v>16002</c:v>
                </c:pt>
                <c:pt idx="199">
                  <c:v>16024</c:v>
                </c:pt>
                <c:pt idx="200">
                  <c:v>16026</c:v>
                </c:pt>
                <c:pt idx="201">
                  <c:v>16031</c:v>
                </c:pt>
                <c:pt idx="202">
                  <c:v>16065</c:v>
                </c:pt>
                <c:pt idx="203">
                  <c:v>16083</c:v>
                </c:pt>
                <c:pt idx="204">
                  <c:v>16093</c:v>
                </c:pt>
                <c:pt idx="205">
                  <c:v>16101</c:v>
                </c:pt>
                <c:pt idx="206">
                  <c:v>16117</c:v>
                </c:pt>
                <c:pt idx="207">
                  <c:v>16120</c:v>
                </c:pt>
                <c:pt idx="208">
                  <c:v>16121</c:v>
                </c:pt>
                <c:pt idx="209">
                  <c:v>16140</c:v>
                </c:pt>
                <c:pt idx="210">
                  <c:v>16157</c:v>
                </c:pt>
                <c:pt idx="211">
                  <c:v>16170</c:v>
                </c:pt>
                <c:pt idx="212">
                  <c:v>16182</c:v>
                </c:pt>
                <c:pt idx="213">
                  <c:v>16185</c:v>
                </c:pt>
                <c:pt idx="214">
                  <c:v>16189</c:v>
                </c:pt>
                <c:pt idx="215">
                  <c:v>16191</c:v>
                </c:pt>
                <c:pt idx="216">
                  <c:v>16196</c:v>
                </c:pt>
                <c:pt idx="217">
                  <c:v>16218</c:v>
                </c:pt>
                <c:pt idx="218">
                  <c:v>16236</c:v>
                </c:pt>
                <c:pt idx="219">
                  <c:v>16252</c:v>
                </c:pt>
                <c:pt idx="220">
                  <c:v>16260</c:v>
                </c:pt>
                <c:pt idx="221">
                  <c:v>16265</c:v>
                </c:pt>
                <c:pt idx="222">
                  <c:v>16266</c:v>
                </c:pt>
                <c:pt idx="223">
                  <c:v>16274</c:v>
                </c:pt>
                <c:pt idx="224">
                  <c:v>16280</c:v>
                </c:pt>
                <c:pt idx="225">
                  <c:v>16285</c:v>
                </c:pt>
                <c:pt idx="226">
                  <c:v>16291</c:v>
                </c:pt>
                <c:pt idx="227">
                  <c:v>16297</c:v>
                </c:pt>
                <c:pt idx="228">
                  <c:v>16298</c:v>
                </c:pt>
                <c:pt idx="229">
                  <c:v>16299</c:v>
                </c:pt>
                <c:pt idx="230">
                  <c:v>16309</c:v>
                </c:pt>
                <c:pt idx="231">
                  <c:v>16313</c:v>
                </c:pt>
                <c:pt idx="232">
                  <c:v>16318</c:v>
                </c:pt>
                <c:pt idx="233">
                  <c:v>16322</c:v>
                </c:pt>
                <c:pt idx="234">
                  <c:v>16325</c:v>
                </c:pt>
                <c:pt idx="235">
                  <c:v>16326</c:v>
                </c:pt>
                <c:pt idx="236">
                  <c:v>16326</c:v>
                </c:pt>
                <c:pt idx="237">
                  <c:v>16334</c:v>
                </c:pt>
                <c:pt idx="238">
                  <c:v>16342</c:v>
                </c:pt>
                <c:pt idx="239">
                  <c:v>16345</c:v>
                </c:pt>
                <c:pt idx="240">
                  <c:v>16347</c:v>
                </c:pt>
                <c:pt idx="241">
                  <c:v>16352</c:v>
                </c:pt>
                <c:pt idx="242">
                  <c:v>16352</c:v>
                </c:pt>
                <c:pt idx="243">
                  <c:v>16353</c:v>
                </c:pt>
                <c:pt idx="244">
                  <c:v>16355</c:v>
                </c:pt>
                <c:pt idx="245">
                  <c:v>16357</c:v>
                </c:pt>
                <c:pt idx="246">
                  <c:v>16358</c:v>
                </c:pt>
                <c:pt idx="247">
                  <c:v>16363</c:v>
                </c:pt>
                <c:pt idx="248">
                  <c:v>16365</c:v>
                </c:pt>
                <c:pt idx="249">
                  <c:v>16366</c:v>
                </c:pt>
                <c:pt idx="250">
                  <c:v>16366</c:v>
                </c:pt>
                <c:pt idx="251">
                  <c:v>16369</c:v>
                </c:pt>
                <c:pt idx="252">
                  <c:v>16373</c:v>
                </c:pt>
                <c:pt idx="253">
                  <c:v>16373</c:v>
                </c:pt>
                <c:pt idx="254">
                  <c:v>16375</c:v>
                </c:pt>
                <c:pt idx="255">
                  <c:v>16376</c:v>
                </c:pt>
                <c:pt idx="256">
                  <c:v>16376</c:v>
                </c:pt>
                <c:pt idx="257">
                  <c:v>16376</c:v>
                </c:pt>
                <c:pt idx="258">
                  <c:v>16381</c:v>
                </c:pt>
                <c:pt idx="259">
                  <c:v>16386</c:v>
                </c:pt>
                <c:pt idx="260">
                  <c:v>16388</c:v>
                </c:pt>
                <c:pt idx="261">
                  <c:v>16391</c:v>
                </c:pt>
                <c:pt idx="262">
                  <c:v>16392</c:v>
                </c:pt>
                <c:pt idx="263">
                  <c:v>16392</c:v>
                </c:pt>
                <c:pt idx="264">
                  <c:v>16392</c:v>
                </c:pt>
                <c:pt idx="265">
                  <c:v>16394</c:v>
                </c:pt>
                <c:pt idx="266">
                  <c:v>16395</c:v>
                </c:pt>
                <c:pt idx="267">
                  <c:v>16396</c:v>
                </c:pt>
                <c:pt idx="268">
                  <c:v>16398</c:v>
                </c:pt>
                <c:pt idx="269">
                  <c:v>16398</c:v>
                </c:pt>
                <c:pt idx="270">
                  <c:v>16398</c:v>
                </c:pt>
                <c:pt idx="271">
                  <c:v>16398</c:v>
                </c:pt>
                <c:pt idx="272">
                  <c:v>16398</c:v>
                </c:pt>
                <c:pt idx="273">
                  <c:v>16398</c:v>
                </c:pt>
                <c:pt idx="274">
                  <c:v>16398</c:v>
                </c:pt>
                <c:pt idx="275">
                  <c:v>16399</c:v>
                </c:pt>
                <c:pt idx="276">
                  <c:v>16399</c:v>
                </c:pt>
                <c:pt idx="277">
                  <c:v>16399</c:v>
                </c:pt>
                <c:pt idx="278">
                  <c:v>16399</c:v>
                </c:pt>
                <c:pt idx="279">
                  <c:v>16399</c:v>
                </c:pt>
                <c:pt idx="280">
                  <c:v>16399</c:v>
                </c:pt>
                <c:pt idx="281">
                  <c:v>16399</c:v>
                </c:pt>
                <c:pt idx="282">
                  <c:v>16399</c:v>
                </c:pt>
                <c:pt idx="283">
                  <c:v>16399</c:v>
                </c:pt>
                <c:pt idx="284">
                  <c:v>16399</c:v>
                </c:pt>
                <c:pt idx="285">
                  <c:v>16399</c:v>
                </c:pt>
                <c:pt idx="286">
                  <c:v>16399</c:v>
                </c:pt>
                <c:pt idx="287">
                  <c:v>16399</c:v>
                </c:pt>
                <c:pt idx="288">
                  <c:v>16399</c:v>
                </c:pt>
                <c:pt idx="289">
                  <c:v>16399</c:v>
                </c:pt>
                <c:pt idx="290">
                  <c:v>16399</c:v>
                </c:pt>
                <c:pt idx="291">
                  <c:v>16399</c:v>
                </c:pt>
                <c:pt idx="292">
                  <c:v>16399</c:v>
                </c:pt>
                <c:pt idx="293">
                  <c:v>16399</c:v>
                </c:pt>
                <c:pt idx="294">
                  <c:v>16399</c:v>
                </c:pt>
                <c:pt idx="295">
                  <c:v>16399</c:v>
                </c:pt>
                <c:pt idx="296">
                  <c:v>16399</c:v>
                </c:pt>
                <c:pt idx="297">
                  <c:v>16399</c:v>
                </c:pt>
                <c:pt idx="298">
                  <c:v>16399</c:v>
                </c:pt>
                <c:pt idx="299">
                  <c:v>16399</c:v>
                </c:pt>
                <c:pt idx="300">
                  <c:v>16399</c:v>
                </c:pt>
                <c:pt idx="301">
                  <c:v>16399</c:v>
                </c:pt>
                <c:pt idx="302">
                  <c:v>16400</c:v>
                </c:pt>
                <c:pt idx="303">
                  <c:v>16400</c:v>
                </c:pt>
                <c:pt idx="304">
                  <c:v>16400</c:v>
                </c:pt>
                <c:pt idx="305">
                  <c:v>16400</c:v>
                </c:pt>
                <c:pt idx="306">
                  <c:v>16400</c:v>
                </c:pt>
                <c:pt idx="307">
                  <c:v>16400</c:v>
                </c:pt>
                <c:pt idx="308">
                  <c:v>16400</c:v>
                </c:pt>
                <c:pt idx="309">
                  <c:v>16400</c:v>
                </c:pt>
                <c:pt idx="310">
                  <c:v>16400</c:v>
                </c:pt>
                <c:pt idx="311">
                  <c:v>16400</c:v>
                </c:pt>
                <c:pt idx="312">
                  <c:v>16400</c:v>
                </c:pt>
                <c:pt idx="313">
                  <c:v>16401</c:v>
                </c:pt>
                <c:pt idx="314">
                  <c:v>16401</c:v>
                </c:pt>
                <c:pt idx="315">
                  <c:v>16401</c:v>
                </c:pt>
                <c:pt idx="316">
                  <c:v>16401</c:v>
                </c:pt>
                <c:pt idx="317">
                  <c:v>16401</c:v>
                </c:pt>
                <c:pt idx="318">
                  <c:v>16401</c:v>
                </c:pt>
                <c:pt idx="319">
                  <c:v>16401</c:v>
                </c:pt>
                <c:pt idx="320">
                  <c:v>16401</c:v>
                </c:pt>
                <c:pt idx="321">
                  <c:v>16401</c:v>
                </c:pt>
                <c:pt idx="322">
                  <c:v>16401</c:v>
                </c:pt>
                <c:pt idx="323">
                  <c:v>16402</c:v>
                </c:pt>
                <c:pt idx="324">
                  <c:v>16402</c:v>
                </c:pt>
                <c:pt idx="325">
                  <c:v>16402</c:v>
                </c:pt>
                <c:pt idx="326">
                  <c:v>16402</c:v>
                </c:pt>
                <c:pt idx="327">
                  <c:v>16402</c:v>
                </c:pt>
                <c:pt idx="328">
                  <c:v>16402</c:v>
                </c:pt>
                <c:pt idx="329">
                  <c:v>16403</c:v>
                </c:pt>
                <c:pt idx="330">
                  <c:v>16405</c:v>
                </c:pt>
                <c:pt idx="331">
                  <c:v>16405</c:v>
                </c:pt>
                <c:pt idx="332">
                  <c:v>16405</c:v>
                </c:pt>
                <c:pt idx="333">
                  <c:v>16405</c:v>
                </c:pt>
                <c:pt idx="334">
                  <c:v>16405</c:v>
                </c:pt>
                <c:pt idx="335">
                  <c:v>16405</c:v>
                </c:pt>
                <c:pt idx="336">
                  <c:v>16405</c:v>
                </c:pt>
                <c:pt idx="337">
                  <c:v>16405</c:v>
                </c:pt>
                <c:pt idx="338">
                  <c:v>16405</c:v>
                </c:pt>
                <c:pt idx="339">
                  <c:v>16405</c:v>
                </c:pt>
                <c:pt idx="340">
                  <c:v>16405</c:v>
                </c:pt>
                <c:pt idx="341">
                  <c:v>16406</c:v>
                </c:pt>
                <c:pt idx="342">
                  <c:v>16406</c:v>
                </c:pt>
                <c:pt idx="343">
                  <c:v>16406</c:v>
                </c:pt>
                <c:pt idx="344">
                  <c:v>16407</c:v>
                </c:pt>
                <c:pt idx="345">
                  <c:v>16407</c:v>
                </c:pt>
                <c:pt idx="346">
                  <c:v>16407</c:v>
                </c:pt>
                <c:pt idx="347">
                  <c:v>16407</c:v>
                </c:pt>
                <c:pt idx="348">
                  <c:v>16407</c:v>
                </c:pt>
                <c:pt idx="349">
                  <c:v>16407</c:v>
                </c:pt>
                <c:pt idx="350">
                  <c:v>16407</c:v>
                </c:pt>
                <c:pt idx="351">
                  <c:v>16407</c:v>
                </c:pt>
                <c:pt idx="352">
                  <c:v>16407</c:v>
                </c:pt>
                <c:pt idx="353">
                  <c:v>16407</c:v>
                </c:pt>
                <c:pt idx="354">
                  <c:v>16407</c:v>
                </c:pt>
                <c:pt idx="355">
                  <c:v>16407</c:v>
                </c:pt>
                <c:pt idx="356">
                  <c:v>16408</c:v>
                </c:pt>
                <c:pt idx="357">
                  <c:v>16408</c:v>
                </c:pt>
                <c:pt idx="358">
                  <c:v>16408</c:v>
                </c:pt>
                <c:pt idx="359">
                  <c:v>16409</c:v>
                </c:pt>
                <c:pt idx="360">
                  <c:v>16410</c:v>
                </c:pt>
                <c:pt idx="361">
                  <c:v>16411</c:v>
                </c:pt>
                <c:pt idx="362">
                  <c:v>16411</c:v>
                </c:pt>
                <c:pt idx="363">
                  <c:v>16411</c:v>
                </c:pt>
                <c:pt idx="364">
                  <c:v>16411</c:v>
                </c:pt>
                <c:pt idx="365">
                  <c:v>16416</c:v>
                </c:pt>
                <c:pt idx="366">
                  <c:v>16417</c:v>
                </c:pt>
                <c:pt idx="367">
                  <c:v>16418</c:v>
                </c:pt>
                <c:pt idx="368">
                  <c:v>16418</c:v>
                </c:pt>
                <c:pt idx="369">
                  <c:v>16418</c:v>
                </c:pt>
                <c:pt idx="370">
                  <c:v>16419</c:v>
                </c:pt>
                <c:pt idx="371">
                  <c:v>16421</c:v>
                </c:pt>
                <c:pt idx="372">
                  <c:v>16422</c:v>
                </c:pt>
                <c:pt idx="373">
                  <c:v>16423</c:v>
                </c:pt>
                <c:pt idx="374">
                  <c:v>16423</c:v>
                </c:pt>
                <c:pt idx="375">
                  <c:v>16423</c:v>
                </c:pt>
                <c:pt idx="376">
                  <c:v>16424</c:v>
                </c:pt>
                <c:pt idx="377">
                  <c:v>16424</c:v>
                </c:pt>
                <c:pt idx="378">
                  <c:v>16425</c:v>
                </c:pt>
                <c:pt idx="379">
                  <c:v>16425</c:v>
                </c:pt>
                <c:pt idx="380">
                  <c:v>16425</c:v>
                </c:pt>
                <c:pt idx="381">
                  <c:v>16425</c:v>
                </c:pt>
                <c:pt idx="382">
                  <c:v>16426</c:v>
                </c:pt>
                <c:pt idx="383">
                  <c:v>16426</c:v>
                </c:pt>
                <c:pt idx="384">
                  <c:v>16430</c:v>
                </c:pt>
                <c:pt idx="385">
                  <c:v>16434</c:v>
                </c:pt>
                <c:pt idx="386">
                  <c:v>16436</c:v>
                </c:pt>
                <c:pt idx="387">
                  <c:v>16436</c:v>
                </c:pt>
                <c:pt idx="388">
                  <c:v>16436</c:v>
                </c:pt>
                <c:pt idx="389">
                  <c:v>16437</c:v>
                </c:pt>
                <c:pt idx="390">
                  <c:v>16438</c:v>
                </c:pt>
                <c:pt idx="391">
                  <c:v>16443</c:v>
                </c:pt>
                <c:pt idx="392">
                  <c:v>16445</c:v>
                </c:pt>
                <c:pt idx="393">
                  <c:v>16452</c:v>
                </c:pt>
                <c:pt idx="394">
                  <c:v>16455</c:v>
                </c:pt>
                <c:pt idx="395">
                  <c:v>16457</c:v>
                </c:pt>
                <c:pt idx="396">
                  <c:v>16457</c:v>
                </c:pt>
                <c:pt idx="397">
                  <c:v>16457</c:v>
                </c:pt>
                <c:pt idx="398">
                  <c:v>16460</c:v>
                </c:pt>
                <c:pt idx="399">
                  <c:v>16465</c:v>
                </c:pt>
                <c:pt idx="400">
                  <c:v>16467</c:v>
                </c:pt>
                <c:pt idx="401">
                  <c:v>16468</c:v>
                </c:pt>
                <c:pt idx="402">
                  <c:v>16470</c:v>
                </c:pt>
                <c:pt idx="403">
                  <c:v>16471</c:v>
                </c:pt>
                <c:pt idx="404">
                  <c:v>16471</c:v>
                </c:pt>
                <c:pt idx="405">
                  <c:v>16473</c:v>
                </c:pt>
                <c:pt idx="406">
                  <c:v>16476</c:v>
                </c:pt>
                <c:pt idx="407">
                  <c:v>16477</c:v>
                </c:pt>
                <c:pt idx="408">
                  <c:v>16480</c:v>
                </c:pt>
                <c:pt idx="409">
                  <c:v>16486</c:v>
                </c:pt>
                <c:pt idx="410">
                  <c:v>16488</c:v>
                </c:pt>
                <c:pt idx="411">
                  <c:v>16489</c:v>
                </c:pt>
                <c:pt idx="412">
                  <c:v>16501</c:v>
                </c:pt>
                <c:pt idx="413">
                  <c:v>16509</c:v>
                </c:pt>
                <c:pt idx="414">
                  <c:v>16520</c:v>
                </c:pt>
                <c:pt idx="415">
                  <c:v>16527</c:v>
                </c:pt>
                <c:pt idx="416">
                  <c:v>16537</c:v>
                </c:pt>
                <c:pt idx="417">
                  <c:v>16537</c:v>
                </c:pt>
                <c:pt idx="418">
                  <c:v>16540</c:v>
                </c:pt>
                <c:pt idx="419">
                  <c:v>16559</c:v>
                </c:pt>
                <c:pt idx="420">
                  <c:v>16565</c:v>
                </c:pt>
                <c:pt idx="421">
                  <c:v>16583</c:v>
                </c:pt>
                <c:pt idx="422">
                  <c:v>16586</c:v>
                </c:pt>
                <c:pt idx="423">
                  <c:v>16594</c:v>
                </c:pt>
                <c:pt idx="424">
                  <c:v>16599</c:v>
                </c:pt>
                <c:pt idx="425">
                  <c:v>16603</c:v>
                </c:pt>
                <c:pt idx="426">
                  <c:v>16644</c:v>
                </c:pt>
                <c:pt idx="427">
                  <c:v>16670</c:v>
                </c:pt>
                <c:pt idx="428">
                  <c:v>16691</c:v>
                </c:pt>
                <c:pt idx="429">
                  <c:v>16716</c:v>
                </c:pt>
                <c:pt idx="430">
                  <c:v>16743</c:v>
                </c:pt>
                <c:pt idx="431">
                  <c:v>16756</c:v>
                </c:pt>
                <c:pt idx="432">
                  <c:v>16761</c:v>
                </c:pt>
                <c:pt idx="433">
                  <c:v>16813</c:v>
                </c:pt>
                <c:pt idx="434">
                  <c:v>16838</c:v>
                </c:pt>
                <c:pt idx="435">
                  <c:v>16868</c:v>
                </c:pt>
                <c:pt idx="436">
                  <c:v>16905</c:v>
                </c:pt>
                <c:pt idx="437">
                  <c:v>16939</c:v>
                </c:pt>
                <c:pt idx="438">
                  <c:v>16959</c:v>
                </c:pt>
                <c:pt idx="439">
                  <c:v>16973</c:v>
                </c:pt>
                <c:pt idx="440">
                  <c:v>17029</c:v>
                </c:pt>
                <c:pt idx="441">
                  <c:v>17063</c:v>
                </c:pt>
                <c:pt idx="442">
                  <c:v>17077</c:v>
                </c:pt>
                <c:pt idx="443">
                  <c:v>17119</c:v>
                </c:pt>
                <c:pt idx="444">
                  <c:v>17171</c:v>
                </c:pt>
                <c:pt idx="445">
                  <c:v>17182</c:v>
                </c:pt>
                <c:pt idx="446">
                  <c:v>17189</c:v>
                </c:pt>
                <c:pt idx="447">
                  <c:v>17258</c:v>
                </c:pt>
                <c:pt idx="448">
                  <c:v>17302</c:v>
                </c:pt>
                <c:pt idx="449">
                  <c:v>17350</c:v>
                </c:pt>
                <c:pt idx="450">
                  <c:v>17399</c:v>
                </c:pt>
                <c:pt idx="451">
                  <c:v>17447</c:v>
                </c:pt>
                <c:pt idx="452">
                  <c:v>17469</c:v>
                </c:pt>
                <c:pt idx="453">
                  <c:v>17477</c:v>
                </c:pt>
                <c:pt idx="454">
                  <c:v>17522</c:v>
                </c:pt>
                <c:pt idx="455">
                  <c:v>17570</c:v>
                </c:pt>
                <c:pt idx="456">
                  <c:v>17613</c:v>
                </c:pt>
                <c:pt idx="457">
                  <c:v>17646</c:v>
                </c:pt>
                <c:pt idx="458">
                  <c:v>17675</c:v>
                </c:pt>
                <c:pt idx="459">
                  <c:v>17696</c:v>
                </c:pt>
                <c:pt idx="460">
                  <c:v>17706</c:v>
                </c:pt>
                <c:pt idx="461">
                  <c:v>17755</c:v>
                </c:pt>
                <c:pt idx="462">
                  <c:v>17790</c:v>
                </c:pt>
                <c:pt idx="463">
                  <c:v>17824</c:v>
                </c:pt>
                <c:pt idx="464">
                  <c:v>17849</c:v>
                </c:pt>
                <c:pt idx="465">
                  <c:v>17867</c:v>
                </c:pt>
                <c:pt idx="466">
                  <c:v>17880</c:v>
                </c:pt>
                <c:pt idx="467">
                  <c:v>17889</c:v>
                </c:pt>
                <c:pt idx="468">
                  <c:v>17919</c:v>
                </c:pt>
                <c:pt idx="469">
                  <c:v>17955</c:v>
                </c:pt>
                <c:pt idx="470">
                  <c:v>17983</c:v>
                </c:pt>
                <c:pt idx="471">
                  <c:v>18000</c:v>
                </c:pt>
                <c:pt idx="472">
                  <c:v>18014</c:v>
                </c:pt>
                <c:pt idx="473">
                  <c:v>18022</c:v>
                </c:pt>
                <c:pt idx="474">
                  <c:v>18032</c:v>
                </c:pt>
                <c:pt idx="475">
                  <c:v>18057</c:v>
                </c:pt>
                <c:pt idx="476">
                  <c:v>18069</c:v>
                </c:pt>
                <c:pt idx="477">
                  <c:v>18077</c:v>
                </c:pt>
                <c:pt idx="478">
                  <c:v>18081</c:v>
                </c:pt>
                <c:pt idx="479">
                  <c:v>18088</c:v>
                </c:pt>
                <c:pt idx="480">
                  <c:v>18091</c:v>
                </c:pt>
                <c:pt idx="481">
                  <c:v>18096</c:v>
                </c:pt>
                <c:pt idx="482">
                  <c:v>18106</c:v>
                </c:pt>
                <c:pt idx="483">
                  <c:v>18123</c:v>
                </c:pt>
                <c:pt idx="484">
                  <c:v>18131</c:v>
                </c:pt>
                <c:pt idx="485">
                  <c:v>18140</c:v>
                </c:pt>
                <c:pt idx="486">
                  <c:v>18146</c:v>
                </c:pt>
                <c:pt idx="487">
                  <c:v>18146</c:v>
                </c:pt>
                <c:pt idx="488">
                  <c:v>18150</c:v>
                </c:pt>
                <c:pt idx="489">
                  <c:v>18169</c:v>
                </c:pt>
                <c:pt idx="490">
                  <c:v>18183</c:v>
                </c:pt>
                <c:pt idx="491">
                  <c:v>18188</c:v>
                </c:pt>
                <c:pt idx="492">
                  <c:v>18197</c:v>
                </c:pt>
                <c:pt idx="493">
                  <c:v>18208</c:v>
                </c:pt>
                <c:pt idx="494">
                  <c:v>18211</c:v>
                </c:pt>
                <c:pt idx="495">
                  <c:v>18214</c:v>
                </c:pt>
                <c:pt idx="496">
                  <c:v>18232</c:v>
                </c:pt>
                <c:pt idx="497">
                  <c:v>18243</c:v>
                </c:pt>
                <c:pt idx="498">
                  <c:v>18251</c:v>
                </c:pt>
                <c:pt idx="499">
                  <c:v>18264</c:v>
                </c:pt>
                <c:pt idx="500">
                  <c:v>18275</c:v>
                </c:pt>
                <c:pt idx="501">
                  <c:v>18281</c:v>
                </c:pt>
                <c:pt idx="502">
                  <c:v>18291</c:v>
                </c:pt>
                <c:pt idx="503">
                  <c:v>18338</c:v>
                </c:pt>
                <c:pt idx="504">
                  <c:v>18370</c:v>
                </c:pt>
                <c:pt idx="505">
                  <c:v>18410</c:v>
                </c:pt>
                <c:pt idx="506">
                  <c:v>18456</c:v>
                </c:pt>
                <c:pt idx="507">
                  <c:v>18520</c:v>
                </c:pt>
                <c:pt idx="508">
                  <c:v>18540</c:v>
                </c:pt>
                <c:pt idx="509">
                  <c:v>18555</c:v>
                </c:pt>
                <c:pt idx="510">
                  <c:v>18643</c:v>
                </c:pt>
                <c:pt idx="511">
                  <c:v>18726</c:v>
                </c:pt>
                <c:pt idx="512">
                  <c:v>18808</c:v>
                </c:pt>
                <c:pt idx="513">
                  <c:v>18887</c:v>
                </c:pt>
                <c:pt idx="514">
                  <c:v>18980</c:v>
                </c:pt>
                <c:pt idx="515">
                  <c:v>19021</c:v>
                </c:pt>
                <c:pt idx="516">
                  <c:v>19054</c:v>
                </c:pt>
                <c:pt idx="517">
                  <c:v>19143</c:v>
                </c:pt>
                <c:pt idx="518">
                  <c:v>19270</c:v>
                </c:pt>
                <c:pt idx="519">
                  <c:v>19372</c:v>
                </c:pt>
                <c:pt idx="520">
                  <c:v>19438</c:v>
                </c:pt>
                <c:pt idx="521">
                  <c:v>194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23</c:f>
              <c:numCache>
                <c:formatCode>m/d/yyyy</c:formatCode>
                <c:ptCount val="5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</c:numCache>
            </c:numRef>
          </c:cat>
          <c:val>
            <c:numRef>
              <c:f>List1!$D$2:$D$523</c:f>
              <c:numCache>
                <c:formatCode>General</c:formatCode>
                <c:ptCount val="522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21</c:v>
                </c:pt>
                <c:pt idx="12">
                  <c:v>22</c:v>
                </c:pt>
                <c:pt idx="13">
                  <c:v>26</c:v>
                </c:pt>
                <c:pt idx="14">
                  <c:v>27</c:v>
                </c:pt>
                <c:pt idx="15">
                  <c:v>29</c:v>
                </c:pt>
                <c:pt idx="16">
                  <c:v>31</c:v>
                </c:pt>
                <c:pt idx="17">
                  <c:v>35</c:v>
                </c:pt>
                <c:pt idx="18">
                  <c:v>37</c:v>
                </c:pt>
                <c:pt idx="19">
                  <c:v>44</c:v>
                </c:pt>
                <c:pt idx="20">
                  <c:v>50</c:v>
                </c:pt>
                <c:pt idx="21">
                  <c:v>55</c:v>
                </c:pt>
                <c:pt idx="22">
                  <c:v>57</c:v>
                </c:pt>
                <c:pt idx="23">
                  <c:v>64</c:v>
                </c:pt>
                <c:pt idx="24">
                  <c:v>77</c:v>
                </c:pt>
                <c:pt idx="25">
                  <c:v>89</c:v>
                </c:pt>
                <c:pt idx="26">
                  <c:v>96</c:v>
                </c:pt>
                <c:pt idx="27">
                  <c:v>103</c:v>
                </c:pt>
                <c:pt idx="28">
                  <c:v>133</c:v>
                </c:pt>
                <c:pt idx="29">
                  <c:v>171</c:v>
                </c:pt>
                <c:pt idx="30">
                  <c:v>232</c:v>
                </c:pt>
                <c:pt idx="31">
                  <c:v>390</c:v>
                </c:pt>
                <c:pt idx="32">
                  <c:v>457</c:v>
                </c:pt>
                <c:pt idx="33">
                  <c:v>542</c:v>
                </c:pt>
                <c:pt idx="34">
                  <c:v>802</c:v>
                </c:pt>
                <c:pt idx="35">
                  <c:v>931</c:v>
                </c:pt>
                <c:pt idx="36">
                  <c:v>1019</c:v>
                </c:pt>
                <c:pt idx="37">
                  <c:v>1183</c:v>
                </c:pt>
                <c:pt idx="38">
                  <c:v>1411</c:v>
                </c:pt>
                <c:pt idx="39">
                  <c:v>1492</c:v>
                </c:pt>
                <c:pt idx="40">
                  <c:v>1530</c:v>
                </c:pt>
                <c:pt idx="41">
                  <c:v>1838</c:v>
                </c:pt>
                <c:pt idx="42">
                  <c:v>2222</c:v>
                </c:pt>
                <c:pt idx="43">
                  <c:v>2598</c:v>
                </c:pt>
                <c:pt idx="44">
                  <c:v>2997</c:v>
                </c:pt>
                <c:pt idx="45">
                  <c:v>3415</c:v>
                </c:pt>
                <c:pt idx="46">
                  <c:v>3677</c:v>
                </c:pt>
                <c:pt idx="47">
                  <c:v>3767</c:v>
                </c:pt>
                <c:pt idx="48">
                  <c:v>4203</c:v>
                </c:pt>
                <c:pt idx="49">
                  <c:v>4601</c:v>
                </c:pt>
                <c:pt idx="50">
                  <c:v>5195</c:v>
                </c:pt>
                <c:pt idx="51">
                  <c:v>5661</c:v>
                </c:pt>
                <c:pt idx="52">
                  <c:v>6422</c:v>
                </c:pt>
                <c:pt idx="53">
                  <c:v>6837</c:v>
                </c:pt>
                <c:pt idx="54">
                  <c:v>7122</c:v>
                </c:pt>
                <c:pt idx="55">
                  <c:v>7891</c:v>
                </c:pt>
                <c:pt idx="56">
                  <c:v>8823</c:v>
                </c:pt>
                <c:pt idx="57">
                  <c:v>9220</c:v>
                </c:pt>
                <c:pt idx="58">
                  <c:v>10235</c:v>
                </c:pt>
                <c:pt idx="59">
                  <c:v>11162</c:v>
                </c:pt>
                <c:pt idx="60">
                  <c:v>11685</c:v>
                </c:pt>
                <c:pt idx="61">
                  <c:v>12017</c:v>
                </c:pt>
                <c:pt idx="62">
                  <c:v>12656</c:v>
                </c:pt>
                <c:pt idx="63">
                  <c:v>13224</c:v>
                </c:pt>
                <c:pt idx="64">
                  <c:v>13985</c:v>
                </c:pt>
                <c:pt idx="65">
                  <c:v>14808</c:v>
                </c:pt>
                <c:pt idx="66">
                  <c:v>15542</c:v>
                </c:pt>
                <c:pt idx="67">
                  <c:v>15875</c:v>
                </c:pt>
                <c:pt idx="68">
                  <c:v>16004</c:v>
                </c:pt>
                <c:pt idx="69">
                  <c:v>16412</c:v>
                </c:pt>
                <c:pt idx="70">
                  <c:v>17004</c:v>
                </c:pt>
                <c:pt idx="71">
                  <c:v>17946</c:v>
                </c:pt>
                <c:pt idx="72">
                  <c:v>18682</c:v>
                </c:pt>
                <c:pt idx="73">
                  <c:v>19371</c:v>
                </c:pt>
                <c:pt idx="74">
                  <c:v>19626</c:v>
                </c:pt>
                <c:pt idx="75">
                  <c:v>19825</c:v>
                </c:pt>
                <c:pt idx="76">
                  <c:v>20403</c:v>
                </c:pt>
                <c:pt idx="77">
                  <c:v>20590</c:v>
                </c:pt>
                <c:pt idx="78">
                  <c:v>21022</c:v>
                </c:pt>
                <c:pt idx="79">
                  <c:v>21423</c:v>
                </c:pt>
                <c:pt idx="80">
                  <c:v>21788</c:v>
                </c:pt>
                <c:pt idx="81">
                  <c:v>21922</c:v>
                </c:pt>
                <c:pt idx="82">
                  <c:v>22030</c:v>
                </c:pt>
                <c:pt idx="83">
                  <c:v>22555</c:v>
                </c:pt>
                <c:pt idx="84">
                  <c:v>22864</c:v>
                </c:pt>
                <c:pt idx="85">
                  <c:v>23085</c:v>
                </c:pt>
                <c:pt idx="86">
                  <c:v>23339</c:v>
                </c:pt>
                <c:pt idx="87">
                  <c:v>23560</c:v>
                </c:pt>
                <c:pt idx="88">
                  <c:v>23661</c:v>
                </c:pt>
                <c:pt idx="89">
                  <c:v>23705</c:v>
                </c:pt>
                <c:pt idx="90">
                  <c:v>24024</c:v>
                </c:pt>
                <c:pt idx="91">
                  <c:v>24237</c:v>
                </c:pt>
                <c:pt idx="92">
                  <c:v>24440</c:v>
                </c:pt>
                <c:pt idx="93">
                  <c:v>24629</c:v>
                </c:pt>
                <c:pt idx="94">
                  <c:v>24863</c:v>
                </c:pt>
                <c:pt idx="95">
                  <c:v>24993</c:v>
                </c:pt>
                <c:pt idx="96">
                  <c:v>25040</c:v>
                </c:pt>
                <c:pt idx="97">
                  <c:v>25304</c:v>
                </c:pt>
                <c:pt idx="98">
                  <c:v>25470</c:v>
                </c:pt>
                <c:pt idx="99">
                  <c:v>25675</c:v>
                </c:pt>
                <c:pt idx="100">
                  <c:v>25819</c:v>
                </c:pt>
                <c:pt idx="101">
                  <c:v>26128</c:v>
                </c:pt>
                <c:pt idx="102">
                  <c:v>26216</c:v>
                </c:pt>
                <c:pt idx="103">
                  <c:v>26283</c:v>
                </c:pt>
                <c:pt idx="104">
                  <c:v>26567</c:v>
                </c:pt>
                <c:pt idx="105">
                  <c:v>26772</c:v>
                </c:pt>
                <c:pt idx="106">
                  <c:v>26968</c:v>
                </c:pt>
                <c:pt idx="107">
                  <c:v>27088</c:v>
                </c:pt>
                <c:pt idx="108">
                  <c:v>27395</c:v>
                </c:pt>
                <c:pt idx="109">
                  <c:v>27485</c:v>
                </c:pt>
                <c:pt idx="110">
                  <c:v>27534</c:v>
                </c:pt>
                <c:pt idx="111">
                  <c:v>27876</c:v>
                </c:pt>
                <c:pt idx="112">
                  <c:v>28166</c:v>
                </c:pt>
                <c:pt idx="113">
                  <c:v>28409</c:v>
                </c:pt>
                <c:pt idx="114">
                  <c:v>28458</c:v>
                </c:pt>
                <c:pt idx="115">
                  <c:v>28578</c:v>
                </c:pt>
                <c:pt idx="116">
                  <c:v>28708</c:v>
                </c:pt>
                <c:pt idx="117">
                  <c:v>28854</c:v>
                </c:pt>
                <c:pt idx="118">
                  <c:v>29216</c:v>
                </c:pt>
                <c:pt idx="119">
                  <c:v>29550</c:v>
                </c:pt>
                <c:pt idx="120">
                  <c:v>29808</c:v>
                </c:pt>
                <c:pt idx="121">
                  <c:v>30033</c:v>
                </c:pt>
                <c:pt idx="122">
                  <c:v>30129</c:v>
                </c:pt>
                <c:pt idx="123">
                  <c:v>30252</c:v>
                </c:pt>
                <c:pt idx="124">
                  <c:v>30329</c:v>
                </c:pt>
                <c:pt idx="125">
                  <c:v>30880</c:v>
                </c:pt>
                <c:pt idx="126">
                  <c:v>31182</c:v>
                </c:pt>
                <c:pt idx="127">
                  <c:v>31458</c:v>
                </c:pt>
                <c:pt idx="128">
                  <c:v>31794</c:v>
                </c:pt>
                <c:pt idx="129">
                  <c:v>32107</c:v>
                </c:pt>
                <c:pt idx="130">
                  <c:v>32219</c:v>
                </c:pt>
                <c:pt idx="131">
                  <c:v>32277</c:v>
                </c:pt>
                <c:pt idx="132">
                  <c:v>32755</c:v>
                </c:pt>
                <c:pt idx="133">
                  <c:v>32981</c:v>
                </c:pt>
                <c:pt idx="134">
                  <c:v>33267</c:v>
                </c:pt>
                <c:pt idx="135">
                  <c:v>33420</c:v>
                </c:pt>
                <c:pt idx="136">
                  <c:v>33573</c:v>
                </c:pt>
                <c:pt idx="137">
                  <c:v>33642</c:v>
                </c:pt>
                <c:pt idx="138">
                  <c:v>33716</c:v>
                </c:pt>
                <c:pt idx="139">
                  <c:v>34009</c:v>
                </c:pt>
                <c:pt idx="140">
                  <c:v>34167</c:v>
                </c:pt>
                <c:pt idx="141">
                  <c:v>34386</c:v>
                </c:pt>
                <c:pt idx="142">
                  <c:v>34554</c:v>
                </c:pt>
                <c:pt idx="143">
                  <c:v>34750</c:v>
                </c:pt>
                <c:pt idx="144">
                  <c:v>34831</c:v>
                </c:pt>
                <c:pt idx="145">
                  <c:v>34870</c:v>
                </c:pt>
                <c:pt idx="146">
                  <c:v>35044</c:v>
                </c:pt>
                <c:pt idx="147">
                  <c:v>35162</c:v>
                </c:pt>
                <c:pt idx="148">
                  <c:v>35317</c:v>
                </c:pt>
                <c:pt idx="149">
                  <c:v>35417</c:v>
                </c:pt>
                <c:pt idx="150">
                  <c:v>35502</c:v>
                </c:pt>
                <c:pt idx="151">
                  <c:v>35581</c:v>
                </c:pt>
                <c:pt idx="152">
                  <c:v>35603</c:v>
                </c:pt>
                <c:pt idx="153">
                  <c:v>35793</c:v>
                </c:pt>
                <c:pt idx="154">
                  <c:v>35960</c:v>
                </c:pt>
                <c:pt idx="155">
                  <c:v>36121</c:v>
                </c:pt>
                <c:pt idx="156">
                  <c:v>36250</c:v>
                </c:pt>
                <c:pt idx="157">
                  <c:v>36383</c:v>
                </c:pt>
                <c:pt idx="158">
                  <c:v>36438</c:v>
                </c:pt>
                <c:pt idx="159">
                  <c:v>36472</c:v>
                </c:pt>
                <c:pt idx="160">
                  <c:v>36611</c:v>
                </c:pt>
                <c:pt idx="161">
                  <c:v>36699</c:v>
                </c:pt>
                <c:pt idx="162">
                  <c:v>36800</c:v>
                </c:pt>
                <c:pt idx="163">
                  <c:v>36906</c:v>
                </c:pt>
                <c:pt idx="164">
                  <c:v>36999</c:v>
                </c:pt>
                <c:pt idx="165">
                  <c:v>37022</c:v>
                </c:pt>
                <c:pt idx="166">
                  <c:v>37048</c:v>
                </c:pt>
                <c:pt idx="167">
                  <c:v>37148</c:v>
                </c:pt>
                <c:pt idx="168">
                  <c:v>37198</c:v>
                </c:pt>
                <c:pt idx="169">
                  <c:v>37264</c:v>
                </c:pt>
                <c:pt idx="170">
                  <c:v>37326</c:v>
                </c:pt>
                <c:pt idx="171">
                  <c:v>37390</c:v>
                </c:pt>
                <c:pt idx="172">
                  <c:v>37414</c:v>
                </c:pt>
                <c:pt idx="173">
                  <c:v>37440</c:v>
                </c:pt>
                <c:pt idx="174">
                  <c:v>37607</c:v>
                </c:pt>
                <c:pt idx="175">
                  <c:v>37689</c:v>
                </c:pt>
                <c:pt idx="176">
                  <c:v>37758</c:v>
                </c:pt>
                <c:pt idx="177">
                  <c:v>37837</c:v>
                </c:pt>
                <c:pt idx="178">
                  <c:v>37924</c:v>
                </c:pt>
                <c:pt idx="179">
                  <c:v>37944</c:v>
                </c:pt>
                <c:pt idx="180">
                  <c:v>37956</c:v>
                </c:pt>
                <c:pt idx="181">
                  <c:v>38093</c:v>
                </c:pt>
                <c:pt idx="182">
                  <c:v>38161</c:v>
                </c:pt>
                <c:pt idx="183">
                  <c:v>38264</c:v>
                </c:pt>
                <c:pt idx="184">
                  <c:v>38320</c:v>
                </c:pt>
                <c:pt idx="185">
                  <c:v>38375</c:v>
                </c:pt>
                <c:pt idx="186">
                  <c:v>38394</c:v>
                </c:pt>
                <c:pt idx="187">
                  <c:v>38410</c:v>
                </c:pt>
                <c:pt idx="188">
                  <c:v>38500</c:v>
                </c:pt>
                <c:pt idx="189">
                  <c:v>38617</c:v>
                </c:pt>
                <c:pt idx="190">
                  <c:v>38703</c:v>
                </c:pt>
                <c:pt idx="191">
                  <c:v>38742</c:v>
                </c:pt>
                <c:pt idx="192">
                  <c:v>38787</c:v>
                </c:pt>
                <c:pt idx="193">
                  <c:v>38808</c:v>
                </c:pt>
                <c:pt idx="194">
                  <c:v>38822</c:v>
                </c:pt>
                <c:pt idx="195">
                  <c:v>38890</c:v>
                </c:pt>
                <c:pt idx="196">
                  <c:v>38936</c:v>
                </c:pt>
                <c:pt idx="197">
                  <c:v>38969</c:v>
                </c:pt>
                <c:pt idx="198">
                  <c:v>39022</c:v>
                </c:pt>
                <c:pt idx="199">
                  <c:v>39062</c:v>
                </c:pt>
                <c:pt idx="200">
                  <c:v>39073</c:v>
                </c:pt>
                <c:pt idx="201">
                  <c:v>39082</c:v>
                </c:pt>
                <c:pt idx="202">
                  <c:v>39129</c:v>
                </c:pt>
                <c:pt idx="203">
                  <c:v>39177</c:v>
                </c:pt>
                <c:pt idx="204">
                  <c:v>39207</c:v>
                </c:pt>
                <c:pt idx="205">
                  <c:v>39246</c:v>
                </c:pt>
                <c:pt idx="206">
                  <c:v>39268</c:v>
                </c:pt>
                <c:pt idx="207">
                  <c:v>39274</c:v>
                </c:pt>
                <c:pt idx="208">
                  <c:v>39279</c:v>
                </c:pt>
                <c:pt idx="209">
                  <c:v>39319</c:v>
                </c:pt>
                <c:pt idx="210">
                  <c:v>39347</c:v>
                </c:pt>
                <c:pt idx="211">
                  <c:v>39371</c:v>
                </c:pt>
                <c:pt idx="212">
                  <c:v>39392</c:v>
                </c:pt>
                <c:pt idx="213">
                  <c:v>39399</c:v>
                </c:pt>
                <c:pt idx="214">
                  <c:v>39407</c:v>
                </c:pt>
                <c:pt idx="215">
                  <c:v>39411</c:v>
                </c:pt>
                <c:pt idx="216">
                  <c:v>39417</c:v>
                </c:pt>
                <c:pt idx="217">
                  <c:v>39444</c:v>
                </c:pt>
                <c:pt idx="218">
                  <c:v>39480</c:v>
                </c:pt>
                <c:pt idx="219">
                  <c:v>39497</c:v>
                </c:pt>
                <c:pt idx="220">
                  <c:v>39508</c:v>
                </c:pt>
                <c:pt idx="221">
                  <c:v>39514</c:v>
                </c:pt>
                <c:pt idx="222">
                  <c:v>39515</c:v>
                </c:pt>
                <c:pt idx="223">
                  <c:v>39524</c:v>
                </c:pt>
                <c:pt idx="224">
                  <c:v>39532</c:v>
                </c:pt>
                <c:pt idx="225">
                  <c:v>39538</c:v>
                </c:pt>
                <c:pt idx="226">
                  <c:v>39548</c:v>
                </c:pt>
                <c:pt idx="227">
                  <c:v>39555</c:v>
                </c:pt>
                <c:pt idx="228">
                  <c:v>39557</c:v>
                </c:pt>
                <c:pt idx="229">
                  <c:v>39559</c:v>
                </c:pt>
                <c:pt idx="230">
                  <c:v>39574</c:v>
                </c:pt>
                <c:pt idx="231">
                  <c:v>39582</c:v>
                </c:pt>
                <c:pt idx="232">
                  <c:v>39590</c:v>
                </c:pt>
                <c:pt idx="233">
                  <c:v>39603</c:v>
                </c:pt>
                <c:pt idx="234">
                  <c:v>39612</c:v>
                </c:pt>
                <c:pt idx="235">
                  <c:v>39614</c:v>
                </c:pt>
                <c:pt idx="236">
                  <c:v>39614</c:v>
                </c:pt>
                <c:pt idx="237">
                  <c:v>39623</c:v>
                </c:pt>
                <c:pt idx="238">
                  <c:v>39634</c:v>
                </c:pt>
                <c:pt idx="239">
                  <c:v>39638</c:v>
                </c:pt>
                <c:pt idx="240">
                  <c:v>39642</c:v>
                </c:pt>
                <c:pt idx="241">
                  <c:v>39648</c:v>
                </c:pt>
                <c:pt idx="242">
                  <c:v>39648</c:v>
                </c:pt>
                <c:pt idx="243">
                  <c:v>39649</c:v>
                </c:pt>
                <c:pt idx="244">
                  <c:v>39653</c:v>
                </c:pt>
                <c:pt idx="245">
                  <c:v>39655</c:v>
                </c:pt>
                <c:pt idx="246">
                  <c:v>39659</c:v>
                </c:pt>
                <c:pt idx="247">
                  <c:v>39664</c:v>
                </c:pt>
                <c:pt idx="248">
                  <c:v>39667</c:v>
                </c:pt>
                <c:pt idx="249">
                  <c:v>39668</c:v>
                </c:pt>
                <c:pt idx="250">
                  <c:v>39671</c:v>
                </c:pt>
                <c:pt idx="251">
                  <c:v>39679</c:v>
                </c:pt>
                <c:pt idx="252">
                  <c:v>39685</c:v>
                </c:pt>
                <c:pt idx="253">
                  <c:v>39685</c:v>
                </c:pt>
                <c:pt idx="254">
                  <c:v>39689</c:v>
                </c:pt>
                <c:pt idx="255">
                  <c:v>39693</c:v>
                </c:pt>
                <c:pt idx="256">
                  <c:v>39694</c:v>
                </c:pt>
                <c:pt idx="257">
                  <c:v>39694</c:v>
                </c:pt>
                <c:pt idx="258">
                  <c:v>39702</c:v>
                </c:pt>
                <c:pt idx="259">
                  <c:v>39707</c:v>
                </c:pt>
                <c:pt idx="260">
                  <c:v>39711</c:v>
                </c:pt>
                <c:pt idx="261">
                  <c:v>39714</c:v>
                </c:pt>
                <c:pt idx="262">
                  <c:v>39715</c:v>
                </c:pt>
                <c:pt idx="263">
                  <c:v>39715</c:v>
                </c:pt>
                <c:pt idx="264">
                  <c:v>39715</c:v>
                </c:pt>
                <c:pt idx="265">
                  <c:v>39719</c:v>
                </c:pt>
                <c:pt idx="266">
                  <c:v>39720</c:v>
                </c:pt>
                <c:pt idx="267">
                  <c:v>39721</c:v>
                </c:pt>
                <c:pt idx="268">
                  <c:v>39723</c:v>
                </c:pt>
                <c:pt idx="269">
                  <c:v>39723</c:v>
                </c:pt>
                <c:pt idx="270">
                  <c:v>39723</c:v>
                </c:pt>
                <c:pt idx="271">
                  <c:v>39723</c:v>
                </c:pt>
                <c:pt idx="272">
                  <c:v>39723</c:v>
                </c:pt>
                <c:pt idx="273">
                  <c:v>39723</c:v>
                </c:pt>
                <c:pt idx="274">
                  <c:v>39726</c:v>
                </c:pt>
                <c:pt idx="275">
                  <c:v>39728</c:v>
                </c:pt>
                <c:pt idx="276">
                  <c:v>39728</c:v>
                </c:pt>
                <c:pt idx="277">
                  <c:v>39728</c:v>
                </c:pt>
                <c:pt idx="278">
                  <c:v>39728</c:v>
                </c:pt>
                <c:pt idx="279">
                  <c:v>39728</c:v>
                </c:pt>
                <c:pt idx="280">
                  <c:v>39728</c:v>
                </c:pt>
                <c:pt idx="281">
                  <c:v>39728</c:v>
                </c:pt>
                <c:pt idx="282">
                  <c:v>39728</c:v>
                </c:pt>
                <c:pt idx="283">
                  <c:v>39729</c:v>
                </c:pt>
                <c:pt idx="284">
                  <c:v>39729</c:v>
                </c:pt>
                <c:pt idx="285">
                  <c:v>39729</c:v>
                </c:pt>
                <c:pt idx="286">
                  <c:v>39729</c:v>
                </c:pt>
                <c:pt idx="287">
                  <c:v>39729</c:v>
                </c:pt>
                <c:pt idx="288">
                  <c:v>39729</c:v>
                </c:pt>
                <c:pt idx="289">
                  <c:v>39730</c:v>
                </c:pt>
                <c:pt idx="290">
                  <c:v>39730</c:v>
                </c:pt>
                <c:pt idx="291">
                  <c:v>39730</c:v>
                </c:pt>
                <c:pt idx="292">
                  <c:v>39730</c:v>
                </c:pt>
                <c:pt idx="293">
                  <c:v>39730</c:v>
                </c:pt>
                <c:pt idx="294">
                  <c:v>39730</c:v>
                </c:pt>
                <c:pt idx="295">
                  <c:v>39731</c:v>
                </c:pt>
                <c:pt idx="296">
                  <c:v>39732</c:v>
                </c:pt>
                <c:pt idx="297">
                  <c:v>39732</c:v>
                </c:pt>
                <c:pt idx="298">
                  <c:v>39732</c:v>
                </c:pt>
                <c:pt idx="299">
                  <c:v>39732</c:v>
                </c:pt>
                <c:pt idx="300">
                  <c:v>39732</c:v>
                </c:pt>
                <c:pt idx="301">
                  <c:v>39732</c:v>
                </c:pt>
                <c:pt idx="302">
                  <c:v>39733</c:v>
                </c:pt>
                <c:pt idx="303">
                  <c:v>39734</c:v>
                </c:pt>
                <c:pt idx="304">
                  <c:v>39734</c:v>
                </c:pt>
                <c:pt idx="305">
                  <c:v>39734</c:v>
                </c:pt>
                <c:pt idx="306">
                  <c:v>39735</c:v>
                </c:pt>
                <c:pt idx="307">
                  <c:v>39735</c:v>
                </c:pt>
                <c:pt idx="308">
                  <c:v>39735</c:v>
                </c:pt>
                <c:pt idx="309">
                  <c:v>39735</c:v>
                </c:pt>
                <c:pt idx="310">
                  <c:v>39736</c:v>
                </c:pt>
                <c:pt idx="311">
                  <c:v>39736</c:v>
                </c:pt>
                <c:pt idx="312">
                  <c:v>39736</c:v>
                </c:pt>
                <c:pt idx="313">
                  <c:v>39737</c:v>
                </c:pt>
                <c:pt idx="314">
                  <c:v>39737</c:v>
                </c:pt>
                <c:pt idx="315">
                  <c:v>39737</c:v>
                </c:pt>
                <c:pt idx="316">
                  <c:v>39737</c:v>
                </c:pt>
                <c:pt idx="317">
                  <c:v>39737</c:v>
                </c:pt>
                <c:pt idx="318">
                  <c:v>39737</c:v>
                </c:pt>
                <c:pt idx="319">
                  <c:v>39737</c:v>
                </c:pt>
                <c:pt idx="320">
                  <c:v>39737</c:v>
                </c:pt>
                <c:pt idx="321">
                  <c:v>39737</c:v>
                </c:pt>
                <c:pt idx="322">
                  <c:v>39737</c:v>
                </c:pt>
                <c:pt idx="323">
                  <c:v>39738</c:v>
                </c:pt>
                <c:pt idx="324">
                  <c:v>39738</c:v>
                </c:pt>
                <c:pt idx="325">
                  <c:v>39738</c:v>
                </c:pt>
                <c:pt idx="326">
                  <c:v>39739</c:v>
                </c:pt>
                <c:pt idx="327">
                  <c:v>39739</c:v>
                </c:pt>
                <c:pt idx="328">
                  <c:v>39739</c:v>
                </c:pt>
                <c:pt idx="329">
                  <c:v>39740</c:v>
                </c:pt>
                <c:pt idx="330">
                  <c:v>39742</c:v>
                </c:pt>
                <c:pt idx="331">
                  <c:v>39742</c:v>
                </c:pt>
                <c:pt idx="332">
                  <c:v>39742</c:v>
                </c:pt>
                <c:pt idx="333">
                  <c:v>39742</c:v>
                </c:pt>
                <c:pt idx="334">
                  <c:v>39742</c:v>
                </c:pt>
                <c:pt idx="335">
                  <c:v>39742</c:v>
                </c:pt>
                <c:pt idx="336">
                  <c:v>39742</c:v>
                </c:pt>
                <c:pt idx="337">
                  <c:v>39742</c:v>
                </c:pt>
                <c:pt idx="338">
                  <c:v>39742</c:v>
                </c:pt>
                <c:pt idx="339">
                  <c:v>39742</c:v>
                </c:pt>
                <c:pt idx="340">
                  <c:v>39742</c:v>
                </c:pt>
                <c:pt idx="341">
                  <c:v>39743</c:v>
                </c:pt>
                <c:pt idx="342">
                  <c:v>39743</c:v>
                </c:pt>
                <c:pt idx="343">
                  <c:v>39743</c:v>
                </c:pt>
                <c:pt idx="344">
                  <c:v>39744</c:v>
                </c:pt>
                <c:pt idx="345">
                  <c:v>39744</c:v>
                </c:pt>
                <c:pt idx="346">
                  <c:v>39744</c:v>
                </c:pt>
                <c:pt idx="347">
                  <c:v>39744</c:v>
                </c:pt>
                <c:pt idx="348">
                  <c:v>39744</c:v>
                </c:pt>
                <c:pt idx="349">
                  <c:v>39745</c:v>
                </c:pt>
                <c:pt idx="350">
                  <c:v>39746</c:v>
                </c:pt>
                <c:pt idx="351">
                  <c:v>39746</c:v>
                </c:pt>
                <c:pt idx="352">
                  <c:v>39747</c:v>
                </c:pt>
                <c:pt idx="353">
                  <c:v>39747</c:v>
                </c:pt>
                <c:pt idx="354">
                  <c:v>39747</c:v>
                </c:pt>
                <c:pt idx="355">
                  <c:v>39747</c:v>
                </c:pt>
                <c:pt idx="356">
                  <c:v>39750</c:v>
                </c:pt>
                <c:pt idx="357">
                  <c:v>39750</c:v>
                </c:pt>
                <c:pt idx="358">
                  <c:v>39750</c:v>
                </c:pt>
                <c:pt idx="359">
                  <c:v>39751</c:v>
                </c:pt>
                <c:pt idx="360">
                  <c:v>39752</c:v>
                </c:pt>
                <c:pt idx="361">
                  <c:v>39753</c:v>
                </c:pt>
                <c:pt idx="362">
                  <c:v>39753</c:v>
                </c:pt>
                <c:pt idx="363">
                  <c:v>39753</c:v>
                </c:pt>
                <c:pt idx="364">
                  <c:v>39753</c:v>
                </c:pt>
                <c:pt idx="365">
                  <c:v>39759</c:v>
                </c:pt>
                <c:pt idx="366">
                  <c:v>39764</c:v>
                </c:pt>
                <c:pt idx="367">
                  <c:v>39767</c:v>
                </c:pt>
                <c:pt idx="368">
                  <c:v>39768</c:v>
                </c:pt>
                <c:pt idx="369">
                  <c:v>39768</c:v>
                </c:pt>
                <c:pt idx="370">
                  <c:v>39773</c:v>
                </c:pt>
                <c:pt idx="371">
                  <c:v>39775</c:v>
                </c:pt>
                <c:pt idx="372">
                  <c:v>39776</c:v>
                </c:pt>
                <c:pt idx="373">
                  <c:v>39778</c:v>
                </c:pt>
                <c:pt idx="374">
                  <c:v>39778</c:v>
                </c:pt>
                <c:pt idx="375">
                  <c:v>39778</c:v>
                </c:pt>
                <c:pt idx="376">
                  <c:v>39779</c:v>
                </c:pt>
                <c:pt idx="377">
                  <c:v>39780</c:v>
                </c:pt>
                <c:pt idx="378">
                  <c:v>39781</c:v>
                </c:pt>
                <c:pt idx="379">
                  <c:v>39781</c:v>
                </c:pt>
                <c:pt idx="380">
                  <c:v>39781</c:v>
                </c:pt>
                <c:pt idx="381">
                  <c:v>39781</c:v>
                </c:pt>
                <c:pt idx="382">
                  <c:v>39782</c:v>
                </c:pt>
                <c:pt idx="383">
                  <c:v>39782</c:v>
                </c:pt>
                <c:pt idx="384">
                  <c:v>39787</c:v>
                </c:pt>
                <c:pt idx="385">
                  <c:v>39795</c:v>
                </c:pt>
                <c:pt idx="386">
                  <c:v>39798</c:v>
                </c:pt>
                <c:pt idx="387">
                  <c:v>39798</c:v>
                </c:pt>
                <c:pt idx="388">
                  <c:v>39798</c:v>
                </c:pt>
                <c:pt idx="389">
                  <c:v>39799</c:v>
                </c:pt>
                <c:pt idx="390">
                  <c:v>39800</c:v>
                </c:pt>
                <c:pt idx="391">
                  <c:v>39807</c:v>
                </c:pt>
                <c:pt idx="392">
                  <c:v>39809</c:v>
                </c:pt>
                <c:pt idx="393">
                  <c:v>39817</c:v>
                </c:pt>
                <c:pt idx="394">
                  <c:v>39820</c:v>
                </c:pt>
                <c:pt idx="395">
                  <c:v>39823</c:v>
                </c:pt>
                <c:pt idx="396">
                  <c:v>39824</c:v>
                </c:pt>
                <c:pt idx="397">
                  <c:v>39825</c:v>
                </c:pt>
                <c:pt idx="398">
                  <c:v>39830</c:v>
                </c:pt>
                <c:pt idx="399">
                  <c:v>39837</c:v>
                </c:pt>
                <c:pt idx="400">
                  <c:v>39850</c:v>
                </c:pt>
                <c:pt idx="401">
                  <c:v>39853</c:v>
                </c:pt>
                <c:pt idx="402">
                  <c:v>39880</c:v>
                </c:pt>
                <c:pt idx="403">
                  <c:v>39882</c:v>
                </c:pt>
                <c:pt idx="404">
                  <c:v>39882</c:v>
                </c:pt>
                <c:pt idx="405">
                  <c:v>39885</c:v>
                </c:pt>
                <c:pt idx="406">
                  <c:v>39888</c:v>
                </c:pt>
                <c:pt idx="407">
                  <c:v>39909</c:v>
                </c:pt>
                <c:pt idx="408">
                  <c:v>39915</c:v>
                </c:pt>
                <c:pt idx="409">
                  <c:v>39923</c:v>
                </c:pt>
                <c:pt idx="410">
                  <c:v>39925</c:v>
                </c:pt>
                <c:pt idx="411">
                  <c:v>39926</c:v>
                </c:pt>
                <c:pt idx="412">
                  <c:v>39944</c:v>
                </c:pt>
                <c:pt idx="413">
                  <c:v>39957</c:v>
                </c:pt>
                <c:pt idx="414">
                  <c:v>39972</c:v>
                </c:pt>
                <c:pt idx="415">
                  <c:v>39981</c:v>
                </c:pt>
                <c:pt idx="416">
                  <c:v>39996</c:v>
                </c:pt>
                <c:pt idx="417">
                  <c:v>39997</c:v>
                </c:pt>
                <c:pt idx="418">
                  <c:v>40001</c:v>
                </c:pt>
                <c:pt idx="419">
                  <c:v>40034</c:v>
                </c:pt>
                <c:pt idx="420">
                  <c:v>40049</c:v>
                </c:pt>
                <c:pt idx="421">
                  <c:v>40078</c:v>
                </c:pt>
                <c:pt idx="422">
                  <c:v>40081</c:v>
                </c:pt>
                <c:pt idx="423">
                  <c:v>40107</c:v>
                </c:pt>
                <c:pt idx="424">
                  <c:v>40119</c:v>
                </c:pt>
                <c:pt idx="425">
                  <c:v>40134</c:v>
                </c:pt>
                <c:pt idx="426">
                  <c:v>40210</c:v>
                </c:pt>
                <c:pt idx="427">
                  <c:v>40250</c:v>
                </c:pt>
                <c:pt idx="428">
                  <c:v>40287</c:v>
                </c:pt>
                <c:pt idx="429">
                  <c:v>40364</c:v>
                </c:pt>
                <c:pt idx="430">
                  <c:v>40414</c:v>
                </c:pt>
                <c:pt idx="431">
                  <c:v>40433</c:v>
                </c:pt>
                <c:pt idx="432">
                  <c:v>40443</c:v>
                </c:pt>
                <c:pt idx="433">
                  <c:v>40524</c:v>
                </c:pt>
                <c:pt idx="434">
                  <c:v>40578</c:v>
                </c:pt>
                <c:pt idx="435">
                  <c:v>40623</c:v>
                </c:pt>
                <c:pt idx="436">
                  <c:v>40678</c:v>
                </c:pt>
                <c:pt idx="437">
                  <c:v>40729</c:v>
                </c:pt>
                <c:pt idx="438">
                  <c:v>40762</c:v>
                </c:pt>
                <c:pt idx="439">
                  <c:v>40790</c:v>
                </c:pt>
                <c:pt idx="440">
                  <c:v>40889</c:v>
                </c:pt>
                <c:pt idx="441">
                  <c:v>40955</c:v>
                </c:pt>
                <c:pt idx="442">
                  <c:v>40994</c:v>
                </c:pt>
                <c:pt idx="443">
                  <c:v>41091</c:v>
                </c:pt>
                <c:pt idx="444">
                  <c:v>41228</c:v>
                </c:pt>
                <c:pt idx="445">
                  <c:v>41265</c:v>
                </c:pt>
                <c:pt idx="446">
                  <c:v>41281</c:v>
                </c:pt>
                <c:pt idx="447">
                  <c:v>41398</c:v>
                </c:pt>
                <c:pt idx="448">
                  <c:v>41465</c:v>
                </c:pt>
                <c:pt idx="449">
                  <c:v>41555</c:v>
                </c:pt>
                <c:pt idx="450">
                  <c:v>41633</c:v>
                </c:pt>
                <c:pt idx="451">
                  <c:v>41733</c:v>
                </c:pt>
                <c:pt idx="452">
                  <c:v>41760</c:v>
                </c:pt>
                <c:pt idx="453">
                  <c:v>41775</c:v>
                </c:pt>
                <c:pt idx="454">
                  <c:v>41864</c:v>
                </c:pt>
                <c:pt idx="455">
                  <c:v>41926</c:v>
                </c:pt>
                <c:pt idx="456">
                  <c:v>41999</c:v>
                </c:pt>
                <c:pt idx="457">
                  <c:v>42063</c:v>
                </c:pt>
                <c:pt idx="458">
                  <c:v>42105</c:v>
                </c:pt>
                <c:pt idx="459">
                  <c:v>42164</c:v>
                </c:pt>
                <c:pt idx="460">
                  <c:v>42181</c:v>
                </c:pt>
                <c:pt idx="461">
                  <c:v>42260</c:v>
                </c:pt>
                <c:pt idx="462">
                  <c:v>42317</c:v>
                </c:pt>
                <c:pt idx="463">
                  <c:v>42369</c:v>
                </c:pt>
                <c:pt idx="464">
                  <c:v>42425</c:v>
                </c:pt>
                <c:pt idx="465">
                  <c:v>42472</c:v>
                </c:pt>
                <c:pt idx="466">
                  <c:v>42491</c:v>
                </c:pt>
                <c:pt idx="467">
                  <c:v>42500</c:v>
                </c:pt>
                <c:pt idx="468">
                  <c:v>42546</c:v>
                </c:pt>
                <c:pt idx="469">
                  <c:v>42609</c:v>
                </c:pt>
                <c:pt idx="470">
                  <c:v>42652</c:v>
                </c:pt>
                <c:pt idx="471">
                  <c:v>42676</c:v>
                </c:pt>
                <c:pt idx="472">
                  <c:v>42702</c:v>
                </c:pt>
                <c:pt idx="473">
                  <c:v>42712</c:v>
                </c:pt>
                <c:pt idx="474">
                  <c:v>42725</c:v>
                </c:pt>
                <c:pt idx="475">
                  <c:v>42764</c:v>
                </c:pt>
                <c:pt idx="476">
                  <c:v>42784</c:v>
                </c:pt>
                <c:pt idx="477">
                  <c:v>42795</c:v>
                </c:pt>
                <c:pt idx="478">
                  <c:v>42804</c:v>
                </c:pt>
                <c:pt idx="479">
                  <c:v>42811</c:v>
                </c:pt>
                <c:pt idx="480">
                  <c:v>42819</c:v>
                </c:pt>
                <c:pt idx="481">
                  <c:v>42824</c:v>
                </c:pt>
                <c:pt idx="482">
                  <c:v>42844</c:v>
                </c:pt>
                <c:pt idx="483">
                  <c:v>42867</c:v>
                </c:pt>
                <c:pt idx="484">
                  <c:v>42880</c:v>
                </c:pt>
                <c:pt idx="485">
                  <c:v>42891</c:v>
                </c:pt>
                <c:pt idx="486">
                  <c:v>42907</c:v>
                </c:pt>
                <c:pt idx="487">
                  <c:v>42909</c:v>
                </c:pt>
                <c:pt idx="488">
                  <c:v>42913</c:v>
                </c:pt>
                <c:pt idx="489">
                  <c:v>42936</c:v>
                </c:pt>
                <c:pt idx="490">
                  <c:v>42955</c:v>
                </c:pt>
                <c:pt idx="491">
                  <c:v>42967</c:v>
                </c:pt>
                <c:pt idx="492">
                  <c:v>42982</c:v>
                </c:pt>
                <c:pt idx="493">
                  <c:v>42999</c:v>
                </c:pt>
                <c:pt idx="494">
                  <c:v>43003</c:v>
                </c:pt>
                <c:pt idx="495">
                  <c:v>43008</c:v>
                </c:pt>
                <c:pt idx="496">
                  <c:v>43027</c:v>
                </c:pt>
                <c:pt idx="497">
                  <c:v>43046</c:v>
                </c:pt>
                <c:pt idx="498">
                  <c:v>43057</c:v>
                </c:pt>
                <c:pt idx="499">
                  <c:v>43074</c:v>
                </c:pt>
                <c:pt idx="500">
                  <c:v>43093</c:v>
                </c:pt>
                <c:pt idx="501">
                  <c:v>43100</c:v>
                </c:pt>
                <c:pt idx="502">
                  <c:v>43114</c:v>
                </c:pt>
                <c:pt idx="503">
                  <c:v>43179</c:v>
                </c:pt>
                <c:pt idx="504">
                  <c:v>43222</c:v>
                </c:pt>
                <c:pt idx="505">
                  <c:v>43273</c:v>
                </c:pt>
                <c:pt idx="506">
                  <c:v>43339</c:v>
                </c:pt>
                <c:pt idx="507">
                  <c:v>43418</c:v>
                </c:pt>
                <c:pt idx="508">
                  <c:v>43470</c:v>
                </c:pt>
                <c:pt idx="509">
                  <c:v>43491</c:v>
                </c:pt>
                <c:pt idx="510">
                  <c:v>43623</c:v>
                </c:pt>
                <c:pt idx="511">
                  <c:v>43747</c:v>
                </c:pt>
                <c:pt idx="512">
                  <c:v>43874</c:v>
                </c:pt>
                <c:pt idx="513">
                  <c:v>43973</c:v>
                </c:pt>
                <c:pt idx="514">
                  <c:v>44124</c:v>
                </c:pt>
                <c:pt idx="515">
                  <c:v>44170</c:v>
                </c:pt>
                <c:pt idx="516">
                  <c:v>44206</c:v>
                </c:pt>
                <c:pt idx="517">
                  <c:v>44327</c:v>
                </c:pt>
                <c:pt idx="518">
                  <c:v>44518</c:v>
                </c:pt>
                <c:pt idx="519">
                  <c:v>44667</c:v>
                </c:pt>
                <c:pt idx="520">
                  <c:v>44763</c:v>
                </c:pt>
                <c:pt idx="521">
                  <c:v>448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23</c:f>
              <c:numCache>
                <c:formatCode>m/d/yyyy</c:formatCode>
                <c:ptCount val="5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</c:numCache>
            </c:numRef>
          </c:cat>
          <c:val>
            <c:numRef>
              <c:f>List1!$B$2:$B$523</c:f>
              <c:numCache>
                <c:formatCode>General</c:formatCode>
                <c:ptCount val="522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1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2</c:v>
                </c:pt>
                <c:pt idx="32">
                  <c:v>157</c:v>
                </c:pt>
                <c:pt idx="33">
                  <c:v>209</c:v>
                </c:pt>
                <c:pt idx="34">
                  <c:v>366</c:v>
                </c:pt>
                <c:pt idx="35">
                  <c:v>437</c:v>
                </c:pt>
                <c:pt idx="36">
                  <c:v>475</c:v>
                </c:pt>
                <c:pt idx="37">
                  <c:v>543</c:v>
                </c:pt>
                <c:pt idx="38">
                  <c:v>675</c:v>
                </c:pt>
                <c:pt idx="39">
                  <c:v>695</c:v>
                </c:pt>
                <c:pt idx="40">
                  <c:v>664</c:v>
                </c:pt>
                <c:pt idx="41">
                  <c:v>775</c:v>
                </c:pt>
                <c:pt idx="42">
                  <c:v>947</c:v>
                </c:pt>
                <c:pt idx="43">
                  <c:v>1077</c:v>
                </c:pt>
                <c:pt idx="44">
                  <c:v>1248</c:v>
                </c:pt>
                <c:pt idx="45">
                  <c:v>1375</c:v>
                </c:pt>
                <c:pt idx="46">
                  <c:v>1451</c:v>
                </c:pt>
                <c:pt idx="47">
                  <c:v>1405</c:v>
                </c:pt>
                <c:pt idx="48">
                  <c:v>1575</c:v>
                </c:pt>
                <c:pt idx="49">
                  <c:v>1687</c:v>
                </c:pt>
                <c:pt idx="50">
                  <c:v>1965</c:v>
                </c:pt>
                <c:pt idx="51">
                  <c:v>2122</c:v>
                </c:pt>
                <c:pt idx="52">
                  <c:v>2413</c:v>
                </c:pt>
                <c:pt idx="53">
                  <c:v>2493</c:v>
                </c:pt>
                <c:pt idx="54">
                  <c:v>2536</c:v>
                </c:pt>
                <c:pt idx="55">
                  <c:v>2718</c:v>
                </c:pt>
                <c:pt idx="56">
                  <c:v>3048</c:v>
                </c:pt>
                <c:pt idx="57">
                  <c:v>3075</c:v>
                </c:pt>
                <c:pt idx="58">
                  <c:v>3516</c:v>
                </c:pt>
                <c:pt idx="59">
                  <c:v>3811</c:v>
                </c:pt>
                <c:pt idx="60">
                  <c:v>3898</c:v>
                </c:pt>
                <c:pt idx="61">
                  <c:v>3794</c:v>
                </c:pt>
                <c:pt idx="62">
                  <c:v>3857</c:v>
                </c:pt>
                <c:pt idx="63">
                  <c:v>3784</c:v>
                </c:pt>
                <c:pt idx="64">
                  <c:v>3995</c:v>
                </c:pt>
                <c:pt idx="65">
                  <c:v>4325</c:v>
                </c:pt>
                <c:pt idx="66">
                  <c:v>4185</c:v>
                </c:pt>
                <c:pt idx="67">
                  <c:v>3835</c:v>
                </c:pt>
                <c:pt idx="68">
                  <c:v>3753</c:v>
                </c:pt>
                <c:pt idx="69">
                  <c:v>3510</c:v>
                </c:pt>
                <c:pt idx="70">
                  <c:v>3389</c:v>
                </c:pt>
                <c:pt idx="71">
                  <c:v>3806</c:v>
                </c:pt>
                <c:pt idx="72">
                  <c:v>4187</c:v>
                </c:pt>
                <c:pt idx="73">
                  <c:v>4236</c:v>
                </c:pt>
                <c:pt idx="74">
                  <c:v>3894</c:v>
                </c:pt>
                <c:pt idx="75">
                  <c:v>3784</c:v>
                </c:pt>
                <c:pt idx="76">
                  <c:v>3797</c:v>
                </c:pt>
                <c:pt idx="77">
                  <c:v>3583</c:v>
                </c:pt>
                <c:pt idx="78">
                  <c:v>3771</c:v>
                </c:pt>
                <c:pt idx="79">
                  <c:v>3919</c:v>
                </c:pt>
                <c:pt idx="80">
                  <c:v>3978</c:v>
                </c:pt>
                <c:pt idx="81">
                  <c:v>3597</c:v>
                </c:pt>
                <c:pt idx="82">
                  <c:v>3321</c:v>
                </c:pt>
                <c:pt idx="83">
                  <c:v>3449</c:v>
                </c:pt>
                <c:pt idx="84">
                  <c:v>3162</c:v>
                </c:pt>
                <c:pt idx="85">
                  <c:v>3156</c:v>
                </c:pt>
                <c:pt idx="86">
                  <c:v>3251</c:v>
                </c:pt>
                <c:pt idx="87">
                  <c:v>3015</c:v>
                </c:pt>
                <c:pt idx="88">
                  <c:v>2983</c:v>
                </c:pt>
                <c:pt idx="89">
                  <c:v>2725</c:v>
                </c:pt>
                <c:pt idx="90">
                  <c:v>2628</c:v>
                </c:pt>
                <c:pt idx="91">
                  <c:v>2442</c:v>
                </c:pt>
                <c:pt idx="92">
                  <c:v>2475</c:v>
                </c:pt>
                <c:pt idx="93">
                  <c:v>2532</c:v>
                </c:pt>
                <c:pt idx="94">
                  <c:v>2421</c:v>
                </c:pt>
                <c:pt idx="95">
                  <c:v>2254</c:v>
                </c:pt>
                <c:pt idx="96">
                  <c:v>2100</c:v>
                </c:pt>
                <c:pt idx="97">
                  <c:v>2053</c:v>
                </c:pt>
                <c:pt idx="98">
                  <c:v>1907</c:v>
                </c:pt>
                <c:pt idx="99">
                  <c:v>1962</c:v>
                </c:pt>
                <c:pt idx="100">
                  <c:v>2013</c:v>
                </c:pt>
                <c:pt idx="101">
                  <c:v>2001</c:v>
                </c:pt>
                <c:pt idx="102">
                  <c:v>1907</c:v>
                </c:pt>
                <c:pt idx="103">
                  <c:v>1861</c:v>
                </c:pt>
                <c:pt idx="104">
                  <c:v>1871</c:v>
                </c:pt>
                <c:pt idx="105">
                  <c:v>1852</c:v>
                </c:pt>
                <c:pt idx="106">
                  <c:v>1852</c:v>
                </c:pt>
                <c:pt idx="107">
                  <c:v>1856</c:v>
                </c:pt>
                <c:pt idx="108">
                  <c:v>1907</c:v>
                </c:pt>
                <c:pt idx="109">
                  <c:v>1777</c:v>
                </c:pt>
                <c:pt idx="110">
                  <c:v>1710</c:v>
                </c:pt>
                <c:pt idx="111">
                  <c:v>1760</c:v>
                </c:pt>
                <c:pt idx="112">
                  <c:v>1773</c:v>
                </c:pt>
                <c:pt idx="113">
                  <c:v>1796</c:v>
                </c:pt>
                <c:pt idx="114">
                  <c:v>1762</c:v>
                </c:pt>
                <c:pt idx="115">
                  <c:v>1660</c:v>
                </c:pt>
                <c:pt idx="116">
                  <c:v>1635</c:v>
                </c:pt>
                <c:pt idx="117">
                  <c:v>1635</c:v>
                </c:pt>
                <c:pt idx="118">
                  <c:v>1681</c:v>
                </c:pt>
                <c:pt idx="119">
                  <c:v>1729</c:v>
                </c:pt>
                <c:pt idx="120">
                  <c:v>1828</c:v>
                </c:pt>
                <c:pt idx="121">
                  <c:v>1912</c:v>
                </c:pt>
                <c:pt idx="122">
                  <c:v>1776</c:v>
                </c:pt>
                <c:pt idx="123">
                  <c:v>1743</c:v>
                </c:pt>
                <c:pt idx="124">
                  <c:v>1578</c:v>
                </c:pt>
                <c:pt idx="125">
                  <c:v>1809</c:v>
                </c:pt>
                <c:pt idx="126">
                  <c:v>1899</c:v>
                </c:pt>
                <c:pt idx="127">
                  <c:v>1988</c:v>
                </c:pt>
                <c:pt idx="128">
                  <c:v>2130</c:v>
                </c:pt>
                <c:pt idx="129">
                  <c:v>2134</c:v>
                </c:pt>
                <c:pt idx="130">
                  <c:v>1999</c:v>
                </c:pt>
                <c:pt idx="131">
                  <c:v>1853</c:v>
                </c:pt>
                <c:pt idx="132">
                  <c:v>1997</c:v>
                </c:pt>
                <c:pt idx="133">
                  <c:v>2060</c:v>
                </c:pt>
                <c:pt idx="134">
                  <c:v>2163</c:v>
                </c:pt>
                <c:pt idx="135">
                  <c:v>2210</c:v>
                </c:pt>
                <c:pt idx="136">
                  <c:v>2126</c:v>
                </c:pt>
                <c:pt idx="137">
                  <c:v>1931</c:v>
                </c:pt>
                <c:pt idx="138">
                  <c:v>1775</c:v>
                </c:pt>
                <c:pt idx="139">
                  <c:v>1717</c:v>
                </c:pt>
                <c:pt idx="140">
                  <c:v>1603</c:v>
                </c:pt>
                <c:pt idx="141">
                  <c:v>1686</c:v>
                </c:pt>
                <c:pt idx="142">
                  <c:v>1756</c:v>
                </c:pt>
                <c:pt idx="143">
                  <c:v>1628</c:v>
                </c:pt>
                <c:pt idx="144">
                  <c:v>1560</c:v>
                </c:pt>
                <c:pt idx="145">
                  <c:v>1461</c:v>
                </c:pt>
                <c:pt idx="146">
                  <c:v>1420</c:v>
                </c:pt>
                <c:pt idx="147">
                  <c:v>1366</c:v>
                </c:pt>
                <c:pt idx="148">
                  <c:v>1418</c:v>
                </c:pt>
                <c:pt idx="149">
                  <c:v>1454</c:v>
                </c:pt>
                <c:pt idx="150">
                  <c:v>1312</c:v>
                </c:pt>
                <c:pt idx="151">
                  <c:v>1270</c:v>
                </c:pt>
                <c:pt idx="152">
                  <c:v>1134</c:v>
                </c:pt>
                <c:pt idx="153">
                  <c:v>1163</c:v>
                </c:pt>
                <c:pt idx="154">
                  <c:v>1185</c:v>
                </c:pt>
                <c:pt idx="155">
                  <c:v>1240</c:v>
                </c:pt>
                <c:pt idx="156">
                  <c:v>1269</c:v>
                </c:pt>
                <c:pt idx="157">
                  <c:v>1240</c:v>
                </c:pt>
                <c:pt idx="158">
                  <c:v>1180</c:v>
                </c:pt>
                <c:pt idx="159">
                  <c:v>1124</c:v>
                </c:pt>
                <c:pt idx="160">
                  <c:v>1139</c:v>
                </c:pt>
                <c:pt idx="161">
                  <c:v>1133</c:v>
                </c:pt>
                <c:pt idx="162">
                  <c:v>1172</c:v>
                </c:pt>
                <c:pt idx="163">
                  <c:v>1218</c:v>
                </c:pt>
                <c:pt idx="164">
                  <c:v>1183</c:v>
                </c:pt>
                <c:pt idx="165">
                  <c:v>1061</c:v>
                </c:pt>
                <c:pt idx="166">
                  <c:v>969</c:v>
                </c:pt>
                <c:pt idx="167">
                  <c:v>948</c:v>
                </c:pt>
                <c:pt idx="168">
                  <c:v>863</c:v>
                </c:pt>
                <c:pt idx="169">
                  <c:v>842</c:v>
                </c:pt>
                <c:pt idx="170">
                  <c:v>857</c:v>
                </c:pt>
                <c:pt idx="171">
                  <c:v>797</c:v>
                </c:pt>
                <c:pt idx="172">
                  <c:v>735</c:v>
                </c:pt>
                <c:pt idx="173">
                  <c:v>663</c:v>
                </c:pt>
                <c:pt idx="174">
                  <c:v>706</c:v>
                </c:pt>
                <c:pt idx="175">
                  <c:v>681</c:v>
                </c:pt>
                <c:pt idx="176">
                  <c:v>691</c:v>
                </c:pt>
                <c:pt idx="177">
                  <c:v>721</c:v>
                </c:pt>
                <c:pt idx="178">
                  <c:v>710</c:v>
                </c:pt>
                <c:pt idx="179">
                  <c:v>678</c:v>
                </c:pt>
                <c:pt idx="180">
                  <c:v>658</c:v>
                </c:pt>
                <c:pt idx="181">
                  <c:v>706</c:v>
                </c:pt>
                <c:pt idx="182">
                  <c:v>672</c:v>
                </c:pt>
                <c:pt idx="183">
                  <c:v>680</c:v>
                </c:pt>
                <c:pt idx="184">
                  <c:v>674</c:v>
                </c:pt>
                <c:pt idx="185">
                  <c:v>608</c:v>
                </c:pt>
                <c:pt idx="186">
                  <c:v>579</c:v>
                </c:pt>
                <c:pt idx="187">
                  <c:v>535</c:v>
                </c:pt>
                <c:pt idx="188">
                  <c:v>530</c:v>
                </c:pt>
                <c:pt idx="189">
                  <c:v>554</c:v>
                </c:pt>
                <c:pt idx="190">
                  <c:v>596</c:v>
                </c:pt>
                <c:pt idx="191">
                  <c:v>596</c:v>
                </c:pt>
                <c:pt idx="192">
                  <c:v>617</c:v>
                </c:pt>
                <c:pt idx="193">
                  <c:v>614</c:v>
                </c:pt>
                <c:pt idx="194">
                  <c:v>615</c:v>
                </c:pt>
                <c:pt idx="195">
                  <c:v>639</c:v>
                </c:pt>
                <c:pt idx="196">
                  <c:v>576</c:v>
                </c:pt>
                <c:pt idx="197">
                  <c:v>554</c:v>
                </c:pt>
                <c:pt idx="198">
                  <c:v>541</c:v>
                </c:pt>
                <c:pt idx="199">
                  <c:v>540</c:v>
                </c:pt>
                <c:pt idx="200">
                  <c:v>520</c:v>
                </c:pt>
                <c:pt idx="201">
                  <c:v>519</c:v>
                </c:pt>
                <c:pt idx="202">
                  <c:v>524</c:v>
                </c:pt>
                <c:pt idx="203">
                  <c:v>526</c:v>
                </c:pt>
                <c:pt idx="204">
                  <c:v>491</c:v>
                </c:pt>
                <c:pt idx="205">
                  <c:v>487</c:v>
                </c:pt>
                <c:pt idx="206">
                  <c:v>469</c:v>
                </c:pt>
                <c:pt idx="207">
                  <c:v>435</c:v>
                </c:pt>
                <c:pt idx="208">
                  <c:v>434</c:v>
                </c:pt>
                <c:pt idx="209">
                  <c:v>446</c:v>
                </c:pt>
                <c:pt idx="210">
                  <c:v>415</c:v>
                </c:pt>
                <c:pt idx="211">
                  <c:v>408</c:v>
                </c:pt>
                <c:pt idx="212">
                  <c:v>391</c:v>
                </c:pt>
                <c:pt idx="213">
                  <c:v>363</c:v>
                </c:pt>
                <c:pt idx="214">
                  <c:v>352</c:v>
                </c:pt>
                <c:pt idx="215">
                  <c:v>350</c:v>
                </c:pt>
                <c:pt idx="216">
                  <c:v>348</c:v>
                </c:pt>
                <c:pt idx="217">
                  <c:v>318</c:v>
                </c:pt>
                <c:pt idx="218">
                  <c:v>315</c:v>
                </c:pt>
                <c:pt idx="219">
                  <c:v>300</c:v>
                </c:pt>
                <c:pt idx="220">
                  <c:v>271</c:v>
                </c:pt>
                <c:pt idx="221">
                  <c:v>266</c:v>
                </c:pt>
                <c:pt idx="222">
                  <c:v>265</c:v>
                </c:pt>
                <c:pt idx="223">
                  <c:v>265</c:v>
                </c:pt>
                <c:pt idx="224">
                  <c:v>254</c:v>
                </c:pt>
                <c:pt idx="225">
                  <c:v>232</c:v>
                </c:pt>
                <c:pt idx="226">
                  <c:v>223</c:v>
                </c:pt>
                <c:pt idx="227">
                  <c:v>207</c:v>
                </c:pt>
                <c:pt idx="228">
                  <c:v>205</c:v>
                </c:pt>
                <c:pt idx="229">
                  <c:v>206</c:v>
                </c:pt>
                <c:pt idx="230">
                  <c:v>210</c:v>
                </c:pt>
                <c:pt idx="231">
                  <c:v>204</c:v>
                </c:pt>
                <c:pt idx="232">
                  <c:v>197</c:v>
                </c:pt>
                <c:pt idx="233">
                  <c:v>196</c:v>
                </c:pt>
                <c:pt idx="234">
                  <c:v>200</c:v>
                </c:pt>
                <c:pt idx="235">
                  <c:v>192</c:v>
                </c:pt>
                <c:pt idx="236">
                  <c:v>191</c:v>
                </c:pt>
                <c:pt idx="237">
                  <c:v>191</c:v>
                </c:pt>
                <c:pt idx="238">
                  <c:v>190</c:v>
                </c:pt>
                <c:pt idx="239">
                  <c:v>189</c:v>
                </c:pt>
                <c:pt idx="240">
                  <c:v>188</c:v>
                </c:pt>
                <c:pt idx="241">
                  <c:v>188</c:v>
                </c:pt>
                <c:pt idx="242">
                  <c:v>182</c:v>
                </c:pt>
                <c:pt idx="243">
                  <c:v>182</c:v>
                </c:pt>
                <c:pt idx="244">
                  <c:v>184</c:v>
                </c:pt>
                <c:pt idx="245">
                  <c:v>179</c:v>
                </c:pt>
                <c:pt idx="246">
                  <c:v>176</c:v>
                </c:pt>
                <c:pt idx="247">
                  <c:v>169</c:v>
                </c:pt>
                <c:pt idx="248">
                  <c:v>168</c:v>
                </c:pt>
                <c:pt idx="249">
                  <c:v>162</c:v>
                </c:pt>
                <c:pt idx="250">
                  <c:v>165</c:v>
                </c:pt>
                <c:pt idx="251">
                  <c:v>169</c:v>
                </c:pt>
                <c:pt idx="252">
                  <c:v>169</c:v>
                </c:pt>
                <c:pt idx="253">
                  <c:v>166</c:v>
                </c:pt>
                <c:pt idx="254">
                  <c:v>165</c:v>
                </c:pt>
                <c:pt idx="255">
                  <c:v>164</c:v>
                </c:pt>
                <c:pt idx="256">
                  <c:v>162</c:v>
                </c:pt>
                <c:pt idx="257">
                  <c:v>161</c:v>
                </c:pt>
                <c:pt idx="258">
                  <c:v>163</c:v>
                </c:pt>
                <c:pt idx="259">
                  <c:v>159</c:v>
                </c:pt>
                <c:pt idx="260">
                  <c:v>161</c:v>
                </c:pt>
                <c:pt idx="261">
                  <c:v>158</c:v>
                </c:pt>
                <c:pt idx="262">
                  <c:v>158</c:v>
                </c:pt>
                <c:pt idx="263">
                  <c:v>157</c:v>
                </c:pt>
                <c:pt idx="264">
                  <c:v>156</c:v>
                </c:pt>
                <c:pt idx="265">
                  <c:v>157</c:v>
                </c:pt>
                <c:pt idx="266">
                  <c:v>156</c:v>
                </c:pt>
                <c:pt idx="267">
                  <c:v>155</c:v>
                </c:pt>
                <c:pt idx="268">
                  <c:v>153</c:v>
                </c:pt>
                <c:pt idx="269">
                  <c:v>152</c:v>
                </c:pt>
                <c:pt idx="270">
                  <c:v>152</c:v>
                </c:pt>
                <c:pt idx="271">
                  <c:v>149</c:v>
                </c:pt>
                <c:pt idx="272">
                  <c:v>148</c:v>
                </c:pt>
                <c:pt idx="273">
                  <c:v>147</c:v>
                </c:pt>
                <c:pt idx="274">
                  <c:v>150</c:v>
                </c:pt>
                <c:pt idx="275">
                  <c:v>146</c:v>
                </c:pt>
                <c:pt idx="276">
                  <c:v>142</c:v>
                </c:pt>
                <c:pt idx="277">
                  <c:v>141</c:v>
                </c:pt>
                <c:pt idx="278">
                  <c:v>141</c:v>
                </c:pt>
                <c:pt idx="279">
                  <c:v>141</c:v>
                </c:pt>
                <c:pt idx="280">
                  <c:v>141</c:v>
                </c:pt>
                <c:pt idx="281">
                  <c:v>140</c:v>
                </c:pt>
                <c:pt idx="282">
                  <c:v>139</c:v>
                </c:pt>
                <c:pt idx="283">
                  <c:v>140</c:v>
                </c:pt>
                <c:pt idx="284">
                  <c:v>137</c:v>
                </c:pt>
                <c:pt idx="285">
                  <c:v>137</c:v>
                </c:pt>
                <c:pt idx="286">
                  <c:v>137</c:v>
                </c:pt>
                <c:pt idx="287">
                  <c:v>137</c:v>
                </c:pt>
                <c:pt idx="288">
                  <c:v>137</c:v>
                </c:pt>
                <c:pt idx="289">
                  <c:v>137</c:v>
                </c:pt>
                <c:pt idx="290">
                  <c:v>137</c:v>
                </c:pt>
                <c:pt idx="291">
                  <c:v>137</c:v>
                </c:pt>
                <c:pt idx="292">
                  <c:v>137</c:v>
                </c:pt>
                <c:pt idx="293">
                  <c:v>137</c:v>
                </c:pt>
                <c:pt idx="294">
                  <c:v>137</c:v>
                </c:pt>
                <c:pt idx="295">
                  <c:v>138</c:v>
                </c:pt>
                <c:pt idx="296">
                  <c:v>138</c:v>
                </c:pt>
                <c:pt idx="297">
                  <c:v>137</c:v>
                </c:pt>
                <c:pt idx="298">
                  <c:v>137</c:v>
                </c:pt>
                <c:pt idx="299">
                  <c:v>137</c:v>
                </c:pt>
                <c:pt idx="300">
                  <c:v>137</c:v>
                </c:pt>
                <c:pt idx="301">
                  <c:v>137</c:v>
                </c:pt>
                <c:pt idx="302">
                  <c:v>136</c:v>
                </c:pt>
                <c:pt idx="303">
                  <c:v>137</c:v>
                </c:pt>
                <c:pt idx="304">
                  <c:v>135</c:v>
                </c:pt>
                <c:pt idx="305">
                  <c:v>135</c:v>
                </c:pt>
                <c:pt idx="306">
                  <c:v>136</c:v>
                </c:pt>
                <c:pt idx="307">
                  <c:v>136</c:v>
                </c:pt>
                <c:pt idx="308">
                  <c:v>136</c:v>
                </c:pt>
                <c:pt idx="309">
                  <c:v>136</c:v>
                </c:pt>
                <c:pt idx="310">
                  <c:v>135</c:v>
                </c:pt>
                <c:pt idx="311">
                  <c:v>135</c:v>
                </c:pt>
                <c:pt idx="312">
                  <c:v>135</c:v>
                </c:pt>
                <c:pt idx="313">
                  <c:v>135</c:v>
                </c:pt>
                <c:pt idx="314">
                  <c:v>135</c:v>
                </c:pt>
                <c:pt idx="315">
                  <c:v>135</c:v>
                </c:pt>
                <c:pt idx="316">
                  <c:v>135</c:v>
                </c:pt>
                <c:pt idx="317">
                  <c:v>135</c:v>
                </c:pt>
                <c:pt idx="318">
                  <c:v>135</c:v>
                </c:pt>
                <c:pt idx="319">
                  <c:v>135</c:v>
                </c:pt>
                <c:pt idx="320">
                  <c:v>135</c:v>
                </c:pt>
                <c:pt idx="321">
                  <c:v>135</c:v>
                </c:pt>
                <c:pt idx="322">
                  <c:v>134</c:v>
                </c:pt>
                <c:pt idx="323">
                  <c:v>134</c:v>
                </c:pt>
                <c:pt idx="324">
                  <c:v>134</c:v>
                </c:pt>
                <c:pt idx="325">
                  <c:v>134</c:v>
                </c:pt>
                <c:pt idx="326">
                  <c:v>135</c:v>
                </c:pt>
                <c:pt idx="327">
                  <c:v>134</c:v>
                </c:pt>
                <c:pt idx="328">
                  <c:v>134</c:v>
                </c:pt>
                <c:pt idx="329">
                  <c:v>134</c:v>
                </c:pt>
                <c:pt idx="330">
                  <c:v>134</c:v>
                </c:pt>
                <c:pt idx="331">
                  <c:v>134</c:v>
                </c:pt>
                <c:pt idx="332">
                  <c:v>133</c:v>
                </c:pt>
                <c:pt idx="333">
                  <c:v>133</c:v>
                </c:pt>
                <c:pt idx="334">
                  <c:v>133</c:v>
                </c:pt>
                <c:pt idx="335">
                  <c:v>133</c:v>
                </c:pt>
                <c:pt idx="336">
                  <c:v>132</c:v>
                </c:pt>
                <c:pt idx="337">
                  <c:v>132</c:v>
                </c:pt>
                <c:pt idx="338">
                  <c:v>132</c:v>
                </c:pt>
                <c:pt idx="339">
                  <c:v>132</c:v>
                </c:pt>
                <c:pt idx="340">
                  <c:v>132</c:v>
                </c:pt>
                <c:pt idx="341">
                  <c:v>132</c:v>
                </c:pt>
                <c:pt idx="342">
                  <c:v>132</c:v>
                </c:pt>
                <c:pt idx="343">
                  <c:v>132</c:v>
                </c:pt>
                <c:pt idx="344">
                  <c:v>132</c:v>
                </c:pt>
                <c:pt idx="345">
                  <c:v>132</c:v>
                </c:pt>
                <c:pt idx="346">
                  <c:v>132</c:v>
                </c:pt>
                <c:pt idx="347">
                  <c:v>132</c:v>
                </c:pt>
                <c:pt idx="348">
                  <c:v>132</c:v>
                </c:pt>
                <c:pt idx="349">
                  <c:v>133</c:v>
                </c:pt>
                <c:pt idx="350">
                  <c:v>134</c:v>
                </c:pt>
                <c:pt idx="351">
                  <c:v>134</c:v>
                </c:pt>
                <c:pt idx="352">
                  <c:v>135</c:v>
                </c:pt>
                <c:pt idx="353">
                  <c:v>134</c:v>
                </c:pt>
                <c:pt idx="354">
                  <c:v>134</c:v>
                </c:pt>
                <c:pt idx="355">
                  <c:v>134</c:v>
                </c:pt>
                <c:pt idx="356">
                  <c:v>136</c:v>
                </c:pt>
                <c:pt idx="357">
                  <c:v>136</c:v>
                </c:pt>
                <c:pt idx="358">
                  <c:v>136</c:v>
                </c:pt>
                <c:pt idx="359">
                  <c:v>136</c:v>
                </c:pt>
                <c:pt idx="360">
                  <c:v>136</c:v>
                </c:pt>
                <c:pt idx="361">
                  <c:v>135</c:v>
                </c:pt>
                <c:pt idx="362">
                  <c:v>135</c:v>
                </c:pt>
                <c:pt idx="363">
                  <c:v>135</c:v>
                </c:pt>
                <c:pt idx="364">
                  <c:v>135</c:v>
                </c:pt>
                <c:pt idx="365">
                  <c:v>136</c:v>
                </c:pt>
                <c:pt idx="366">
                  <c:v>140</c:v>
                </c:pt>
                <c:pt idx="367">
                  <c:v>142</c:v>
                </c:pt>
                <c:pt idx="368">
                  <c:v>143</c:v>
                </c:pt>
                <c:pt idx="369">
                  <c:v>142</c:v>
                </c:pt>
                <c:pt idx="370">
                  <c:v>146</c:v>
                </c:pt>
                <c:pt idx="371">
                  <c:v>143</c:v>
                </c:pt>
                <c:pt idx="372">
                  <c:v>143</c:v>
                </c:pt>
                <c:pt idx="373">
                  <c:v>143</c:v>
                </c:pt>
                <c:pt idx="374">
                  <c:v>143</c:v>
                </c:pt>
                <c:pt idx="375">
                  <c:v>143</c:v>
                </c:pt>
                <c:pt idx="376">
                  <c:v>143</c:v>
                </c:pt>
                <c:pt idx="377">
                  <c:v>144</c:v>
                </c:pt>
                <c:pt idx="378">
                  <c:v>144</c:v>
                </c:pt>
                <c:pt idx="379">
                  <c:v>144</c:v>
                </c:pt>
                <c:pt idx="380">
                  <c:v>143</c:v>
                </c:pt>
                <c:pt idx="381">
                  <c:v>141</c:v>
                </c:pt>
                <c:pt idx="382">
                  <c:v>141</c:v>
                </c:pt>
                <c:pt idx="383">
                  <c:v>141</c:v>
                </c:pt>
                <c:pt idx="384">
                  <c:v>142</c:v>
                </c:pt>
                <c:pt idx="385">
                  <c:v>139</c:v>
                </c:pt>
                <c:pt idx="386">
                  <c:v>139</c:v>
                </c:pt>
                <c:pt idx="387">
                  <c:v>137</c:v>
                </c:pt>
                <c:pt idx="388">
                  <c:v>137</c:v>
                </c:pt>
                <c:pt idx="389">
                  <c:v>137</c:v>
                </c:pt>
                <c:pt idx="390">
                  <c:v>137</c:v>
                </c:pt>
                <c:pt idx="391">
                  <c:v>139</c:v>
                </c:pt>
                <c:pt idx="392">
                  <c:v>137</c:v>
                </c:pt>
                <c:pt idx="393">
                  <c:v>138</c:v>
                </c:pt>
                <c:pt idx="394">
                  <c:v>138</c:v>
                </c:pt>
                <c:pt idx="395">
                  <c:v>139</c:v>
                </c:pt>
                <c:pt idx="396">
                  <c:v>140</c:v>
                </c:pt>
                <c:pt idx="397">
                  <c:v>141</c:v>
                </c:pt>
                <c:pt idx="398">
                  <c:v>143</c:v>
                </c:pt>
                <c:pt idx="399">
                  <c:v>145</c:v>
                </c:pt>
                <c:pt idx="400">
                  <c:v>153</c:v>
                </c:pt>
                <c:pt idx="401">
                  <c:v>152</c:v>
                </c:pt>
                <c:pt idx="402">
                  <c:v>177</c:v>
                </c:pt>
                <c:pt idx="403">
                  <c:v>177</c:v>
                </c:pt>
                <c:pt idx="404">
                  <c:v>177</c:v>
                </c:pt>
                <c:pt idx="405">
                  <c:v>178</c:v>
                </c:pt>
                <c:pt idx="406">
                  <c:v>178</c:v>
                </c:pt>
                <c:pt idx="407">
                  <c:v>197</c:v>
                </c:pt>
                <c:pt idx="408">
                  <c:v>199</c:v>
                </c:pt>
                <c:pt idx="409">
                  <c:v>199</c:v>
                </c:pt>
                <c:pt idx="410">
                  <c:v>199</c:v>
                </c:pt>
                <c:pt idx="411">
                  <c:v>198</c:v>
                </c:pt>
                <c:pt idx="412">
                  <c:v>202</c:v>
                </c:pt>
                <c:pt idx="413">
                  <c:v>203</c:v>
                </c:pt>
                <c:pt idx="414">
                  <c:v>197</c:v>
                </c:pt>
                <c:pt idx="415">
                  <c:v>197</c:v>
                </c:pt>
                <c:pt idx="416">
                  <c:v>180</c:v>
                </c:pt>
                <c:pt idx="417">
                  <c:v>179</c:v>
                </c:pt>
                <c:pt idx="418">
                  <c:v>177</c:v>
                </c:pt>
                <c:pt idx="419">
                  <c:v>190</c:v>
                </c:pt>
                <c:pt idx="420">
                  <c:v>198</c:v>
                </c:pt>
                <c:pt idx="421">
                  <c:v>206</c:v>
                </c:pt>
                <c:pt idx="422">
                  <c:v>190</c:v>
                </c:pt>
                <c:pt idx="423">
                  <c:v>208</c:v>
                </c:pt>
                <c:pt idx="424">
                  <c:v>211</c:v>
                </c:pt>
                <c:pt idx="425">
                  <c:v>220</c:v>
                </c:pt>
                <c:pt idx="426">
                  <c:v>255</c:v>
                </c:pt>
                <c:pt idx="427">
                  <c:v>266</c:v>
                </c:pt>
                <c:pt idx="428">
                  <c:v>271</c:v>
                </c:pt>
                <c:pt idx="429">
                  <c:v>318</c:v>
                </c:pt>
                <c:pt idx="430">
                  <c:v>337</c:v>
                </c:pt>
                <c:pt idx="431">
                  <c:v>331</c:v>
                </c:pt>
                <c:pt idx="432">
                  <c:v>330</c:v>
                </c:pt>
                <c:pt idx="433">
                  <c:v>354</c:v>
                </c:pt>
                <c:pt idx="434">
                  <c:v>368</c:v>
                </c:pt>
                <c:pt idx="435">
                  <c:v>374</c:v>
                </c:pt>
                <c:pt idx="436">
                  <c:v>383</c:v>
                </c:pt>
                <c:pt idx="437">
                  <c:v>395</c:v>
                </c:pt>
                <c:pt idx="438">
                  <c:v>392</c:v>
                </c:pt>
                <c:pt idx="439">
                  <c:v>397</c:v>
                </c:pt>
                <c:pt idx="440">
                  <c:v>427</c:v>
                </c:pt>
                <c:pt idx="441">
                  <c:v>429</c:v>
                </c:pt>
                <c:pt idx="442">
                  <c:v>433</c:v>
                </c:pt>
                <c:pt idx="443">
                  <c:v>462</c:v>
                </c:pt>
                <c:pt idx="444">
                  <c:v>518</c:v>
                </c:pt>
                <c:pt idx="445">
                  <c:v>521</c:v>
                </c:pt>
                <c:pt idx="446">
                  <c:v>519</c:v>
                </c:pt>
                <c:pt idx="447">
                  <c:v>559</c:v>
                </c:pt>
                <c:pt idx="448">
                  <c:v>546</c:v>
                </c:pt>
                <c:pt idx="449">
                  <c:v>555</c:v>
                </c:pt>
                <c:pt idx="450">
                  <c:v>554</c:v>
                </c:pt>
                <c:pt idx="451">
                  <c:v>586</c:v>
                </c:pt>
                <c:pt idx="452">
                  <c:v>571</c:v>
                </c:pt>
                <c:pt idx="453">
                  <c:v>572</c:v>
                </c:pt>
                <c:pt idx="454">
                  <c:v>604</c:v>
                </c:pt>
                <c:pt idx="455">
                  <c:v>583</c:v>
                </c:pt>
                <c:pt idx="456">
                  <c:v>556</c:v>
                </c:pt>
                <c:pt idx="457">
                  <c:v>559</c:v>
                </c:pt>
                <c:pt idx="458">
                  <c:v>453</c:v>
                </c:pt>
                <c:pt idx="459">
                  <c:v>474</c:v>
                </c:pt>
                <c:pt idx="460">
                  <c:v>455</c:v>
                </c:pt>
                <c:pt idx="461">
                  <c:v>474</c:v>
                </c:pt>
                <c:pt idx="462">
                  <c:v>450</c:v>
                </c:pt>
                <c:pt idx="463">
                  <c:v>441</c:v>
                </c:pt>
                <c:pt idx="464">
                  <c:v>430</c:v>
                </c:pt>
                <c:pt idx="465">
                  <c:v>387</c:v>
                </c:pt>
                <c:pt idx="466">
                  <c:v>373</c:v>
                </c:pt>
                <c:pt idx="467">
                  <c:v>370</c:v>
                </c:pt>
                <c:pt idx="468">
                  <c:v>377</c:v>
                </c:pt>
                <c:pt idx="469">
                  <c:v>365</c:v>
                </c:pt>
                <c:pt idx="470">
                  <c:v>356</c:v>
                </c:pt>
                <c:pt idx="471">
                  <c:v>332</c:v>
                </c:pt>
                <c:pt idx="472">
                  <c:v>315</c:v>
                </c:pt>
                <c:pt idx="473">
                  <c:v>268</c:v>
                </c:pt>
                <c:pt idx="474">
                  <c:v>269</c:v>
                </c:pt>
                <c:pt idx="475">
                  <c:v>279</c:v>
                </c:pt>
                <c:pt idx="476">
                  <c:v>255</c:v>
                </c:pt>
                <c:pt idx="477">
                  <c:v>236</c:v>
                </c:pt>
                <c:pt idx="478">
                  <c:v>205</c:v>
                </c:pt>
                <c:pt idx="479">
                  <c:v>182</c:v>
                </c:pt>
                <c:pt idx="480">
                  <c:v>172</c:v>
                </c:pt>
                <c:pt idx="481">
                  <c:v>167</c:v>
                </c:pt>
                <c:pt idx="482">
                  <c:v>176</c:v>
                </c:pt>
                <c:pt idx="483">
                  <c:v>150</c:v>
                </c:pt>
                <c:pt idx="484">
                  <c:v>144</c:v>
                </c:pt>
                <c:pt idx="485">
                  <c:v>129</c:v>
                </c:pt>
                <c:pt idx="486">
                  <c:v>122</c:v>
                </c:pt>
                <c:pt idx="487">
                  <c:v>113</c:v>
                </c:pt>
                <c:pt idx="488">
                  <c:v>109</c:v>
                </c:pt>
                <c:pt idx="489">
                  <c:v>111</c:v>
                </c:pt>
                <c:pt idx="490">
                  <c:v>97</c:v>
                </c:pt>
                <c:pt idx="491">
                  <c:v>96</c:v>
                </c:pt>
                <c:pt idx="492">
                  <c:v>95</c:v>
                </c:pt>
                <c:pt idx="493">
                  <c:v>94</c:v>
                </c:pt>
                <c:pt idx="494">
                  <c:v>92</c:v>
                </c:pt>
                <c:pt idx="495">
                  <c:v>91</c:v>
                </c:pt>
                <c:pt idx="496">
                  <c:v>90</c:v>
                </c:pt>
                <c:pt idx="497">
                  <c:v>83</c:v>
                </c:pt>
                <c:pt idx="498">
                  <c:v>83</c:v>
                </c:pt>
                <c:pt idx="499">
                  <c:v>82</c:v>
                </c:pt>
                <c:pt idx="500">
                  <c:v>84</c:v>
                </c:pt>
                <c:pt idx="501">
                  <c:v>81</c:v>
                </c:pt>
                <c:pt idx="502">
                  <c:v>84</c:v>
                </c:pt>
                <c:pt idx="503">
                  <c:v>101</c:v>
                </c:pt>
                <c:pt idx="504">
                  <c:v>109</c:v>
                </c:pt>
                <c:pt idx="505">
                  <c:v>109</c:v>
                </c:pt>
                <c:pt idx="506">
                  <c:v>124</c:v>
                </c:pt>
                <c:pt idx="507">
                  <c:v>127</c:v>
                </c:pt>
                <c:pt idx="508">
                  <c:v>147</c:v>
                </c:pt>
                <c:pt idx="509">
                  <c:v>151</c:v>
                </c:pt>
                <c:pt idx="510">
                  <c:v>187</c:v>
                </c:pt>
                <c:pt idx="511">
                  <c:v>222</c:v>
                </c:pt>
                <c:pt idx="512">
                  <c:v>263</c:v>
                </c:pt>
                <c:pt idx="513">
                  <c:v>279</c:v>
                </c:pt>
                <c:pt idx="514">
                  <c:v>327</c:v>
                </c:pt>
                <c:pt idx="515">
                  <c:v>322</c:v>
                </c:pt>
                <c:pt idx="516">
                  <c:v>315</c:v>
                </c:pt>
                <c:pt idx="517">
                  <c:v>327</c:v>
                </c:pt>
                <c:pt idx="518">
                  <c:v>348</c:v>
                </c:pt>
                <c:pt idx="519">
                  <c:v>368</c:v>
                </c:pt>
                <c:pt idx="520">
                  <c:v>354</c:v>
                </c:pt>
                <c:pt idx="521">
                  <c:v>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23</c:f>
              <c:numCache>
                <c:formatCode>m/d/yyyy</c:formatCode>
                <c:ptCount val="5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</c:numCache>
            </c:numRef>
          </c:cat>
          <c:val>
            <c:numRef>
              <c:f>List1!$C$2:$C$523</c:f>
              <c:numCache>
                <c:formatCode>General</c:formatCode>
                <c:ptCount val="522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11</c:v>
                </c:pt>
                <c:pt idx="20">
                  <c:v>12</c:v>
                </c:pt>
                <c:pt idx="21">
                  <c:v>14</c:v>
                </c:pt>
                <c:pt idx="22">
                  <c:v>13</c:v>
                </c:pt>
                <c:pt idx="23">
                  <c:v>17</c:v>
                </c:pt>
                <c:pt idx="24">
                  <c:v>28</c:v>
                </c:pt>
                <c:pt idx="25">
                  <c:v>32</c:v>
                </c:pt>
                <c:pt idx="26">
                  <c:v>33</c:v>
                </c:pt>
                <c:pt idx="27">
                  <c:v>36</c:v>
                </c:pt>
                <c:pt idx="28">
                  <c:v>57</c:v>
                </c:pt>
                <c:pt idx="29">
                  <c:v>60</c:v>
                </c:pt>
                <c:pt idx="30">
                  <c:v>88</c:v>
                </c:pt>
                <c:pt idx="31">
                  <c:v>178</c:v>
                </c:pt>
                <c:pt idx="32">
                  <c:v>202</c:v>
                </c:pt>
                <c:pt idx="33">
                  <c:v>217</c:v>
                </c:pt>
                <c:pt idx="34">
                  <c:v>302</c:v>
                </c:pt>
                <c:pt idx="35">
                  <c:v>338</c:v>
                </c:pt>
                <c:pt idx="36">
                  <c:v>365</c:v>
                </c:pt>
                <c:pt idx="37">
                  <c:v>447</c:v>
                </c:pt>
                <c:pt idx="38">
                  <c:v>529</c:v>
                </c:pt>
                <c:pt idx="39">
                  <c:v>567</c:v>
                </c:pt>
                <c:pt idx="40">
                  <c:v>581</c:v>
                </c:pt>
                <c:pt idx="41">
                  <c:v>717</c:v>
                </c:pt>
                <c:pt idx="42">
                  <c:v>841</c:v>
                </c:pt>
                <c:pt idx="43">
                  <c:v>1010</c:v>
                </c:pt>
                <c:pt idx="44">
                  <c:v>1182</c:v>
                </c:pt>
                <c:pt idx="45">
                  <c:v>1349</c:v>
                </c:pt>
                <c:pt idx="46">
                  <c:v>1418</c:v>
                </c:pt>
                <c:pt idx="47">
                  <c:v>1412</c:v>
                </c:pt>
                <c:pt idx="48">
                  <c:v>1551</c:v>
                </c:pt>
                <c:pt idx="49">
                  <c:v>1692</c:v>
                </c:pt>
                <c:pt idx="50">
                  <c:v>1919</c:v>
                </c:pt>
                <c:pt idx="51">
                  <c:v>2077</c:v>
                </c:pt>
                <c:pt idx="52">
                  <c:v>2342</c:v>
                </c:pt>
                <c:pt idx="53">
                  <c:v>2414</c:v>
                </c:pt>
                <c:pt idx="54">
                  <c:v>2380</c:v>
                </c:pt>
                <c:pt idx="55">
                  <c:v>2544</c:v>
                </c:pt>
                <c:pt idx="56">
                  <c:v>2719</c:v>
                </c:pt>
                <c:pt idx="57">
                  <c:v>2731</c:v>
                </c:pt>
                <c:pt idx="58">
                  <c:v>3129</c:v>
                </c:pt>
                <c:pt idx="59">
                  <c:v>3268</c:v>
                </c:pt>
                <c:pt idx="60">
                  <c:v>3181</c:v>
                </c:pt>
                <c:pt idx="61">
                  <c:v>3021</c:v>
                </c:pt>
                <c:pt idx="62">
                  <c:v>3041</c:v>
                </c:pt>
                <c:pt idx="63">
                  <c:v>2967</c:v>
                </c:pt>
                <c:pt idx="64">
                  <c:v>3159</c:v>
                </c:pt>
                <c:pt idx="65">
                  <c:v>3338</c:v>
                </c:pt>
                <c:pt idx="66">
                  <c:v>3156</c:v>
                </c:pt>
                <c:pt idx="67">
                  <c:v>2905</c:v>
                </c:pt>
                <c:pt idx="68">
                  <c:v>2806</c:v>
                </c:pt>
                <c:pt idx="69">
                  <c:v>2654</c:v>
                </c:pt>
                <c:pt idx="70">
                  <c:v>2509</c:v>
                </c:pt>
                <c:pt idx="71">
                  <c:v>2628</c:v>
                </c:pt>
                <c:pt idx="72">
                  <c:v>2752</c:v>
                </c:pt>
                <c:pt idx="73">
                  <c:v>2654</c:v>
                </c:pt>
                <c:pt idx="74">
                  <c:v>2451</c:v>
                </c:pt>
                <c:pt idx="75">
                  <c:v>2209</c:v>
                </c:pt>
                <c:pt idx="76">
                  <c:v>2178</c:v>
                </c:pt>
                <c:pt idx="77">
                  <c:v>2018</c:v>
                </c:pt>
                <c:pt idx="78">
                  <c:v>2118</c:v>
                </c:pt>
                <c:pt idx="79">
                  <c:v>2193</c:v>
                </c:pt>
                <c:pt idx="80">
                  <c:v>2137</c:v>
                </c:pt>
                <c:pt idx="81">
                  <c:v>1883</c:v>
                </c:pt>
                <c:pt idx="82">
                  <c:v>1696</c:v>
                </c:pt>
                <c:pt idx="83">
                  <c:v>1677</c:v>
                </c:pt>
                <c:pt idx="84">
                  <c:v>1615</c:v>
                </c:pt>
                <c:pt idx="85">
                  <c:v>1638</c:v>
                </c:pt>
                <c:pt idx="86">
                  <c:v>1661</c:v>
                </c:pt>
                <c:pt idx="87">
                  <c:v>1617</c:v>
                </c:pt>
                <c:pt idx="88">
                  <c:v>1578</c:v>
                </c:pt>
                <c:pt idx="89">
                  <c:v>1433</c:v>
                </c:pt>
                <c:pt idx="90">
                  <c:v>1407</c:v>
                </c:pt>
                <c:pt idx="91">
                  <c:v>1402</c:v>
                </c:pt>
                <c:pt idx="92">
                  <c:v>1448</c:v>
                </c:pt>
                <c:pt idx="93">
                  <c:v>1487</c:v>
                </c:pt>
                <c:pt idx="94">
                  <c:v>1423</c:v>
                </c:pt>
                <c:pt idx="95">
                  <c:v>1360</c:v>
                </c:pt>
                <c:pt idx="96">
                  <c:v>1288</c:v>
                </c:pt>
                <c:pt idx="97">
                  <c:v>1347</c:v>
                </c:pt>
                <c:pt idx="98">
                  <c:v>1333</c:v>
                </c:pt>
                <c:pt idx="99">
                  <c:v>1371</c:v>
                </c:pt>
                <c:pt idx="100">
                  <c:v>1418</c:v>
                </c:pt>
                <c:pt idx="101">
                  <c:v>1398</c:v>
                </c:pt>
                <c:pt idx="102">
                  <c:v>1327</c:v>
                </c:pt>
                <c:pt idx="103">
                  <c:v>1287</c:v>
                </c:pt>
                <c:pt idx="104">
                  <c:v>1327</c:v>
                </c:pt>
                <c:pt idx="105">
                  <c:v>1331</c:v>
                </c:pt>
                <c:pt idx="106">
                  <c:v>1399</c:v>
                </c:pt>
                <c:pt idx="107">
                  <c:v>1432</c:v>
                </c:pt>
                <c:pt idx="108">
                  <c:v>1383</c:v>
                </c:pt>
                <c:pt idx="109">
                  <c:v>1329</c:v>
                </c:pt>
                <c:pt idx="110">
                  <c:v>1280</c:v>
                </c:pt>
                <c:pt idx="111">
                  <c:v>1383</c:v>
                </c:pt>
                <c:pt idx="112">
                  <c:v>1429</c:v>
                </c:pt>
                <c:pt idx="113">
                  <c:v>1520</c:v>
                </c:pt>
                <c:pt idx="114">
                  <c:v>1538</c:v>
                </c:pt>
                <c:pt idx="115">
                  <c:v>1487</c:v>
                </c:pt>
                <c:pt idx="116">
                  <c:v>1444</c:v>
                </c:pt>
                <c:pt idx="117">
                  <c:v>1415</c:v>
                </c:pt>
                <c:pt idx="118">
                  <c:v>1531</c:v>
                </c:pt>
                <c:pt idx="119">
                  <c:v>1619</c:v>
                </c:pt>
                <c:pt idx="120">
                  <c:v>1695</c:v>
                </c:pt>
                <c:pt idx="121">
                  <c:v>1766</c:v>
                </c:pt>
                <c:pt idx="122">
                  <c:v>1670</c:v>
                </c:pt>
                <c:pt idx="123">
                  <c:v>1601</c:v>
                </c:pt>
                <c:pt idx="124">
                  <c:v>1531</c:v>
                </c:pt>
                <c:pt idx="125">
                  <c:v>1796</c:v>
                </c:pt>
                <c:pt idx="126">
                  <c:v>1921</c:v>
                </c:pt>
                <c:pt idx="127">
                  <c:v>1997</c:v>
                </c:pt>
                <c:pt idx="128">
                  <c:v>2061</c:v>
                </c:pt>
                <c:pt idx="129">
                  <c:v>1964</c:v>
                </c:pt>
                <c:pt idx="130">
                  <c:v>1848</c:v>
                </c:pt>
                <c:pt idx="131">
                  <c:v>1730</c:v>
                </c:pt>
                <c:pt idx="132">
                  <c:v>1880</c:v>
                </c:pt>
                <c:pt idx="133">
                  <c:v>1964</c:v>
                </c:pt>
                <c:pt idx="134">
                  <c:v>2036</c:v>
                </c:pt>
                <c:pt idx="135">
                  <c:v>2040</c:v>
                </c:pt>
                <c:pt idx="136">
                  <c:v>1898</c:v>
                </c:pt>
                <c:pt idx="137">
                  <c:v>1756</c:v>
                </c:pt>
                <c:pt idx="138">
                  <c:v>1648</c:v>
                </c:pt>
                <c:pt idx="139">
                  <c:v>1648</c:v>
                </c:pt>
                <c:pt idx="140">
                  <c:v>1596</c:v>
                </c:pt>
                <c:pt idx="141">
                  <c:v>1629</c:v>
                </c:pt>
                <c:pt idx="142">
                  <c:v>1658</c:v>
                </c:pt>
                <c:pt idx="143">
                  <c:v>1562</c:v>
                </c:pt>
                <c:pt idx="144">
                  <c:v>1486</c:v>
                </c:pt>
                <c:pt idx="145">
                  <c:v>1375</c:v>
                </c:pt>
                <c:pt idx="146">
                  <c:v>1387</c:v>
                </c:pt>
                <c:pt idx="147">
                  <c:v>1391</c:v>
                </c:pt>
                <c:pt idx="148">
                  <c:v>1416</c:v>
                </c:pt>
                <c:pt idx="149">
                  <c:v>1427</c:v>
                </c:pt>
                <c:pt idx="150">
                  <c:v>1345</c:v>
                </c:pt>
                <c:pt idx="151">
                  <c:v>1277</c:v>
                </c:pt>
                <c:pt idx="152">
                  <c:v>1202</c:v>
                </c:pt>
                <c:pt idx="153">
                  <c:v>1224</c:v>
                </c:pt>
                <c:pt idx="154">
                  <c:v>1217</c:v>
                </c:pt>
                <c:pt idx="155">
                  <c:v>1255</c:v>
                </c:pt>
                <c:pt idx="156">
                  <c:v>1279</c:v>
                </c:pt>
                <c:pt idx="157">
                  <c:v>1223</c:v>
                </c:pt>
                <c:pt idx="158">
                  <c:v>1152</c:v>
                </c:pt>
                <c:pt idx="159">
                  <c:v>1109</c:v>
                </c:pt>
                <c:pt idx="160">
                  <c:v>1135</c:v>
                </c:pt>
                <c:pt idx="161">
                  <c:v>1104</c:v>
                </c:pt>
                <c:pt idx="162">
                  <c:v>1121</c:v>
                </c:pt>
                <c:pt idx="163">
                  <c:v>1149</c:v>
                </c:pt>
                <c:pt idx="164">
                  <c:v>1109</c:v>
                </c:pt>
                <c:pt idx="165">
                  <c:v>1049</c:v>
                </c:pt>
                <c:pt idx="166">
                  <c:v>1001</c:v>
                </c:pt>
                <c:pt idx="167">
                  <c:v>1019</c:v>
                </c:pt>
                <c:pt idx="168">
                  <c:v>1009</c:v>
                </c:pt>
                <c:pt idx="169">
                  <c:v>1028</c:v>
                </c:pt>
                <c:pt idx="170">
                  <c:v>1048</c:v>
                </c:pt>
                <c:pt idx="171">
                  <c:v>1020</c:v>
                </c:pt>
                <c:pt idx="172">
                  <c:v>980</c:v>
                </c:pt>
                <c:pt idx="173">
                  <c:v>956</c:v>
                </c:pt>
                <c:pt idx="174">
                  <c:v>989</c:v>
                </c:pt>
                <c:pt idx="175">
                  <c:v>1004</c:v>
                </c:pt>
                <c:pt idx="176">
                  <c:v>1021</c:v>
                </c:pt>
                <c:pt idx="177">
                  <c:v>1047</c:v>
                </c:pt>
                <c:pt idx="178">
                  <c:v>1026</c:v>
                </c:pt>
                <c:pt idx="179">
                  <c:v>978</c:v>
                </c:pt>
                <c:pt idx="180">
                  <c:v>943</c:v>
                </c:pt>
                <c:pt idx="181">
                  <c:v>968</c:v>
                </c:pt>
                <c:pt idx="182">
                  <c:v>962</c:v>
                </c:pt>
                <c:pt idx="183">
                  <c:v>1004</c:v>
                </c:pt>
                <c:pt idx="184">
                  <c:v>1035</c:v>
                </c:pt>
                <c:pt idx="185">
                  <c:v>983</c:v>
                </c:pt>
                <c:pt idx="186">
                  <c:v>931</c:v>
                </c:pt>
                <c:pt idx="187">
                  <c:v>900</c:v>
                </c:pt>
                <c:pt idx="188">
                  <c:v>921</c:v>
                </c:pt>
                <c:pt idx="189">
                  <c:v>905</c:v>
                </c:pt>
                <c:pt idx="190">
                  <c:v>926</c:v>
                </c:pt>
                <c:pt idx="191">
                  <c:v>941</c:v>
                </c:pt>
                <c:pt idx="192">
                  <c:v>957</c:v>
                </c:pt>
                <c:pt idx="193">
                  <c:v>968</c:v>
                </c:pt>
                <c:pt idx="194">
                  <c:v>974</c:v>
                </c:pt>
                <c:pt idx="195">
                  <c:v>1013</c:v>
                </c:pt>
                <c:pt idx="196">
                  <c:v>975</c:v>
                </c:pt>
                <c:pt idx="197">
                  <c:v>952</c:v>
                </c:pt>
                <c:pt idx="198">
                  <c:v>912</c:v>
                </c:pt>
                <c:pt idx="199">
                  <c:v>894</c:v>
                </c:pt>
                <c:pt idx="200">
                  <c:v>860</c:v>
                </c:pt>
                <c:pt idx="201">
                  <c:v>855</c:v>
                </c:pt>
                <c:pt idx="202">
                  <c:v>882</c:v>
                </c:pt>
                <c:pt idx="203">
                  <c:v>836</c:v>
                </c:pt>
                <c:pt idx="204">
                  <c:v>810</c:v>
                </c:pt>
                <c:pt idx="205">
                  <c:v>781</c:v>
                </c:pt>
                <c:pt idx="206">
                  <c:v>769</c:v>
                </c:pt>
                <c:pt idx="207">
                  <c:v>746</c:v>
                </c:pt>
                <c:pt idx="208">
                  <c:v>738</c:v>
                </c:pt>
                <c:pt idx="209">
                  <c:v>745</c:v>
                </c:pt>
                <c:pt idx="210">
                  <c:v>734</c:v>
                </c:pt>
                <c:pt idx="211">
                  <c:v>704</c:v>
                </c:pt>
                <c:pt idx="212">
                  <c:v>695</c:v>
                </c:pt>
                <c:pt idx="213">
                  <c:v>670</c:v>
                </c:pt>
                <c:pt idx="214">
                  <c:v>655</c:v>
                </c:pt>
                <c:pt idx="215">
                  <c:v>653</c:v>
                </c:pt>
                <c:pt idx="216">
                  <c:v>656</c:v>
                </c:pt>
                <c:pt idx="217">
                  <c:v>642</c:v>
                </c:pt>
                <c:pt idx="218">
                  <c:v>635</c:v>
                </c:pt>
                <c:pt idx="219">
                  <c:v>632</c:v>
                </c:pt>
                <c:pt idx="220">
                  <c:v>625</c:v>
                </c:pt>
                <c:pt idx="221">
                  <c:v>611</c:v>
                </c:pt>
                <c:pt idx="222">
                  <c:v>607</c:v>
                </c:pt>
                <c:pt idx="223">
                  <c:v>612</c:v>
                </c:pt>
                <c:pt idx="224">
                  <c:v>588</c:v>
                </c:pt>
                <c:pt idx="225">
                  <c:v>582</c:v>
                </c:pt>
                <c:pt idx="226">
                  <c:v>576</c:v>
                </c:pt>
                <c:pt idx="227">
                  <c:v>572</c:v>
                </c:pt>
                <c:pt idx="228">
                  <c:v>571</c:v>
                </c:pt>
                <c:pt idx="229">
                  <c:v>568</c:v>
                </c:pt>
                <c:pt idx="230">
                  <c:v>576</c:v>
                </c:pt>
                <c:pt idx="231">
                  <c:v>571</c:v>
                </c:pt>
                <c:pt idx="232">
                  <c:v>548</c:v>
                </c:pt>
                <c:pt idx="233">
                  <c:v>530</c:v>
                </c:pt>
                <c:pt idx="234">
                  <c:v>522</c:v>
                </c:pt>
                <c:pt idx="235">
                  <c:v>515</c:v>
                </c:pt>
                <c:pt idx="236">
                  <c:v>513</c:v>
                </c:pt>
                <c:pt idx="237">
                  <c:v>518</c:v>
                </c:pt>
                <c:pt idx="238">
                  <c:v>514</c:v>
                </c:pt>
                <c:pt idx="239">
                  <c:v>509</c:v>
                </c:pt>
                <c:pt idx="240">
                  <c:v>505</c:v>
                </c:pt>
                <c:pt idx="241">
                  <c:v>502</c:v>
                </c:pt>
                <c:pt idx="242">
                  <c:v>499</c:v>
                </c:pt>
                <c:pt idx="243">
                  <c:v>498</c:v>
                </c:pt>
                <c:pt idx="244">
                  <c:v>500</c:v>
                </c:pt>
                <c:pt idx="245">
                  <c:v>489</c:v>
                </c:pt>
                <c:pt idx="246">
                  <c:v>485</c:v>
                </c:pt>
                <c:pt idx="247">
                  <c:v>486</c:v>
                </c:pt>
                <c:pt idx="248">
                  <c:v>484</c:v>
                </c:pt>
                <c:pt idx="249">
                  <c:v>479</c:v>
                </c:pt>
                <c:pt idx="250">
                  <c:v>477</c:v>
                </c:pt>
                <c:pt idx="251">
                  <c:v>480</c:v>
                </c:pt>
                <c:pt idx="252">
                  <c:v>475</c:v>
                </c:pt>
                <c:pt idx="253">
                  <c:v>470</c:v>
                </c:pt>
                <c:pt idx="254">
                  <c:v>470</c:v>
                </c:pt>
                <c:pt idx="255">
                  <c:v>469</c:v>
                </c:pt>
                <c:pt idx="256">
                  <c:v>466</c:v>
                </c:pt>
                <c:pt idx="257">
                  <c:v>466</c:v>
                </c:pt>
                <c:pt idx="258">
                  <c:v>468</c:v>
                </c:pt>
                <c:pt idx="259">
                  <c:v>470</c:v>
                </c:pt>
                <c:pt idx="260">
                  <c:v>467</c:v>
                </c:pt>
                <c:pt idx="261">
                  <c:v>468</c:v>
                </c:pt>
                <c:pt idx="262">
                  <c:v>468</c:v>
                </c:pt>
                <c:pt idx="263">
                  <c:v>465</c:v>
                </c:pt>
                <c:pt idx="264">
                  <c:v>465</c:v>
                </c:pt>
                <c:pt idx="265">
                  <c:v>467</c:v>
                </c:pt>
                <c:pt idx="266">
                  <c:v>465</c:v>
                </c:pt>
                <c:pt idx="267">
                  <c:v>462</c:v>
                </c:pt>
                <c:pt idx="268">
                  <c:v>462</c:v>
                </c:pt>
                <c:pt idx="269">
                  <c:v>460</c:v>
                </c:pt>
                <c:pt idx="270">
                  <c:v>458</c:v>
                </c:pt>
                <c:pt idx="271">
                  <c:v>458</c:v>
                </c:pt>
                <c:pt idx="272">
                  <c:v>457</c:v>
                </c:pt>
                <c:pt idx="273">
                  <c:v>454</c:v>
                </c:pt>
                <c:pt idx="274">
                  <c:v>451</c:v>
                </c:pt>
                <c:pt idx="275">
                  <c:v>450</c:v>
                </c:pt>
                <c:pt idx="276">
                  <c:v>449</c:v>
                </c:pt>
                <c:pt idx="277">
                  <c:v>449</c:v>
                </c:pt>
                <c:pt idx="278">
                  <c:v>449</c:v>
                </c:pt>
                <c:pt idx="279">
                  <c:v>448</c:v>
                </c:pt>
                <c:pt idx="280">
                  <c:v>446</c:v>
                </c:pt>
                <c:pt idx="281">
                  <c:v>444</c:v>
                </c:pt>
                <c:pt idx="282">
                  <c:v>444</c:v>
                </c:pt>
                <c:pt idx="283">
                  <c:v>444</c:v>
                </c:pt>
                <c:pt idx="284">
                  <c:v>444</c:v>
                </c:pt>
                <c:pt idx="285">
                  <c:v>444</c:v>
                </c:pt>
                <c:pt idx="286">
                  <c:v>444</c:v>
                </c:pt>
                <c:pt idx="287">
                  <c:v>444</c:v>
                </c:pt>
                <c:pt idx="288">
                  <c:v>444</c:v>
                </c:pt>
                <c:pt idx="289">
                  <c:v>443</c:v>
                </c:pt>
                <c:pt idx="290">
                  <c:v>443</c:v>
                </c:pt>
                <c:pt idx="291">
                  <c:v>443</c:v>
                </c:pt>
                <c:pt idx="292">
                  <c:v>443</c:v>
                </c:pt>
                <c:pt idx="293">
                  <c:v>443</c:v>
                </c:pt>
                <c:pt idx="294">
                  <c:v>443</c:v>
                </c:pt>
                <c:pt idx="295">
                  <c:v>443</c:v>
                </c:pt>
                <c:pt idx="296">
                  <c:v>443</c:v>
                </c:pt>
                <c:pt idx="297">
                  <c:v>442</c:v>
                </c:pt>
                <c:pt idx="298">
                  <c:v>442</c:v>
                </c:pt>
                <c:pt idx="299">
                  <c:v>442</c:v>
                </c:pt>
                <c:pt idx="300">
                  <c:v>442</c:v>
                </c:pt>
                <c:pt idx="301">
                  <c:v>442</c:v>
                </c:pt>
                <c:pt idx="302">
                  <c:v>443</c:v>
                </c:pt>
                <c:pt idx="303">
                  <c:v>443</c:v>
                </c:pt>
                <c:pt idx="304">
                  <c:v>443</c:v>
                </c:pt>
                <c:pt idx="305">
                  <c:v>443</c:v>
                </c:pt>
                <c:pt idx="306">
                  <c:v>443</c:v>
                </c:pt>
                <c:pt idx="307">
                  <c:v>443</c:v>
                </c:pt>
                <c:pt idx="308">
                  <c:v>443</c:v>
                </c:pt>
                <c:pt idx="309">
                  <c:v>443</c:v>
                </c:pt>
                <c:pt idx="310">
                  <c:v>443</c:v>
                </c:pt>
                <c:pt idx="311">
                  <c:v>443</c:v>
                </c:pt>
                <c:pt idx="312">
                  <c:v>443</c:v>
                </c:pt>
                <c:pt idx="313">
                  <c:v>443</c:v>
                </c:pt>
                <c:pt idx="314">
                  <c:v>443</c:v>
                </c:pt>
                <c:pt idx="315">
                  <c:v>443</c:v>
                </c:pt>
                <c:pt idx="316">
                  <c:v>443</c:v>
                </c:pt>
                <c:pt idx="317">
                  <c:v>443</c:v>
                </c:pt>
                <c:pt idx="318">
                  <c:v>442</c:v>
                </c:pt>
                <c:pt idx="319">
                  <c:v>442</c:v>
                </c:pt>
                <c:pt idx="320">
                  <c:v>442</c:v>
                </c:pt>
                <c:pt idx="321">
                  <c:v>442</c:v>
                </c:pt>
                <c:pt idx="322">
                  <c:v>442</c:v>
                </c:pt>
                <c:pt idx="323">
                  <c:v>443</c:v>
                </c:pt>
                <c:pt idx="324">
                  <c:v>442</c:v>
                </c:pt>
                <c:pt idx="325">
                  <c:v>442</c:v>
                </c:pt>
                <c:pt idx="326">
                  <c:v>441</c:v>
                </c:pt>
                <c:pt idx="327">
                  <c:v>441</c:v>
                </c:pt>
                <c:pt idx="328">
                  <c:v>440</c:v>
                </c:pt>
                <c:pt idx="329">
                  <c:v>441</c:v>
                </c:pt>
                <c:pt idx="330">
                  <c:v>442</c:v>
                </c:pt>
                <c:pt idx="331">
                  <c:v>442</c:v>
                </c:pt>
                <c:pt idx="332">
                  <c:v>442</c:v>
                </c:pt>
                <c:pt idx="333">
                  <c:v>442</c:v>
                </c:pt>
                <c:pt idx="334">
                  <c:v>442</c:v>
                </c:pt>
                <c:pt idx="335">
                  <c:v>442</c:v>
                </c:pt>
                <c:pt idx="336">
                  <c:v>442</c:v>
                </c:pt>
                <c:pt idx="337">
                  <c:v>442</c:v>
                </c:pt>
                <c:pt idx="338">
                  <c:v>441</c:v>
                </c:pt>
                <c:pt idx="339">
                  <c:v>441</c:v>
                </c:pt>
                <c:pt idx="340">
                  <c:v>441</c:v>
                </c:pt>
                <c:pt idx="341">
                  <c:v>442</c:v>
                </c:pt>
                <c:pt idx="342">
                  <c:v>442</c:v>
                </c:pt>
                <c:pt idx="343">
                  <c:v>441</c:v>
                </c:pt>
                <c:pt idx="344">
                  <c:v>441</c:v>
                </c:pt>
                <c:pt idx="345">
                  <c:v>441</c:v>
                </c:pt>
                <c:pt idx="346">
                  <c:v>441</c:v>
                </c:pt>
                <c:pt idx="347">
                  <c:v>441</c:v>
                </c:pt>
                <c:pt idx="348">
                  <c:v>441</c:v>
                </c:pt>
                <c:pt idx="349">
                  <c:v>441</c:v>
                </c:pt>
                <c:pt idx="350">
                  <c:v>440</c:v>
                </c:pt>
                <c:pt idx="351">
                  <c:v>440</c:v>
                </c:pt>
                <c:pt idx="352">
                  <c:v>440</c:v>
                </c:pt>
                <c:pt idx="353">
                  <c:v>440</c:v>
                </c:pt>
                <c:pt idx="354">
                  <c:v>440</c:v>
                </c:pt>
                <c:pt idx="355">
                  <c:v>440</c:v>
                </c:pt>
                <c:pt idx="356">
                  <c:v>441</c:v>
                </c:pt>
                <c:pt idx="357">
                  <c:v>441</c:v>
                </c:pt>
                <c:pt idx="358">
                  <c:v>441</c:v>
                </c:pt>
                <c:pt idx="359">
                  <c:v>441</c:v>
                </c:pt>
                <c:pt idx="360">
                  <c:v>442</c:v>
                </c:pt>
                <c:pt idx="361">
                  <c:v>442</c:v>
                </c:pt>
                <c:pt idx="362">
                  <c:v>442</c:v>
                </c:pt>
                <c:pt idx="363">
                  <c:v>442</c:v>
                </c:pt>
                <c:pt idx="364">
                  <c:v>442</c:v>
                </c:pt>
                <c:pt idx="365">
                  <c:v>447</c:v>
                </c:pt>
                <c:pt idx="366">
                  <c:v>448</c:v>
                </c:pt>
                <c:pt idx="367">
                  <c:v>449</c:v>
                </c:pt>
                <c:pt idx="368">
                  <c:v>449</c:v>
                </c:pt>
                <c:pt idx="369">
                  <c:v>449</c:v>
                </c:pt>
                <c:pt idx="370">
                  <c:v>450</c:v>
                </c:pt>
                <c:pt idx="371">
                  <c:v>451</c:v>
                </c:pt>
                <c:pt idx="372">
                  <c:v>452</c:v>
                </c:pt>
                <c:pt idx="373">
                  <c:v>453</c:v>
                </c:pt>
                <c:pt idx="374">
                  <c:v>453</c:v>
                </c:pt>
                <c:pt idx="375">
                  <c:v>452</c:v>
                </c:pt>
                <c:pt idx="376">
                  <c:v>451</c:v>
                </c:pt>
                <c:pt idx="377">
                  <c:v>451</c:v>
                </c:pt>
                <c:pt idx="378">
                  <c:v>452</c:v>
                </c:pt>
                <c:pt idx="379">
                  <c:v>451</c:v>
                </c:pt>
                <c:pt idx="380">
                  <c:v>451</c:v>
                </c:pt>
                <c:pt idx="381">
                  <c:v>450</c:v>
                </c:pt>
                <c:pt idx="382">
                  <c:v>448</c:v>
                </c:pt>
                <c:pt idx="383">
                  <c:v>448</c:v>
                </c:pt>
                <c:pt idx="384">
                  <c:v>452</c:v>
                </c:pt>
                <c:pt idx="385">
                  <c:v>455</c:v>
                </c:pt>
                <c:pt idx="386">
                  <c:v>455</c:v>
                </c:pt>
                <c:pt idx="387">
                  <c:v>455</c:v>
                </c:pt>
                <c:pt idx="388">
                  <c:v>455</c:v>
                </c:pt>
                <c:pt idx="389">
                  <c:v>456</c:v>
                </c:pt>
                <c:pt idx="390">
                  <c:v>457</c:v>
                </c:pt>
                <c:pt idx="391">
                  <c:v>461</c:v>
                </c:pt>
                <c:pt idx="392">
                  <c:v>463</c:v>
                </c:pt>
                <c:pt idx="393">
                  <c:v>468</c:v>
                </c:pt>
                <c:pt idx="394">
                  <c:v>469</c:v>
                </c:pt>
                <c:pt idx="395">
                  <c:v>470</c:v>
                </c:pt>
                <c:pt idx="396">
                  <c:v>469</c:v>
                </c:pt>
                <c:pt idx="397">
                  <c:v>468</c:v>
                </c:pt>
                <c:pt idx="398">
                  <c:v>470</c:v>
                </c:pt>
                <c:pt idx="399">
                  <c:v>472</c:v>
                </c:pt>
                <c:pt idx="400">
                  <c:v>472</c:v>
                </c:pt>
                <c:pt idx="401">
                  <c:v>473</c:v>
                </c:pt>
                <c:pt idx="402">
                  <c:v>474</c:v>
                </c:pt>
                <c:pt idx="403">
                  <c:v>475</c:v>
                </c:pt>
                <c:pt idx="404">
                  <c:v>473</c:v>
                </c:pt>
                <c:pt idx="405">
                  <c:v>475</c:v>
                </c:pt>
                <c:pt idx="406">
                  <c:v>471</c:v>
                </c:pt>
                <c:pt idx="407">
                  <c:v>471</c:v>
                </c:pt>
                <c:pt idx="408">
                  <c:v>467</c:v>
                </c:pt>
                <c:pt idx="409">
                  <c:v>472</c:v>
                </c:pt>
                <c:pt idx="410">
                  <c:v>472</c:v>
                </c:pt>
                <c:pt idx="411">
                  <c:v>473</c:v>
                </c:pt>
                <c:pt idx="412">
                  <c:v>485</c:v>
                </c:pt>
                <c:pt idx="413">
                  <c:v>489</c:v>
                </c:pt>
                <c:pt idx="414">
                  <c:v>499</c:v>
                </c:pt>
                <c:pt idx="415">
                  <c:v>501</c:v>
                </c:pt>
                <c:pt idx="416">
                  <c:v>507</c:v>
                </c:pt>
                <c:pt idx="417">
                  <c:v>503</c:v>
                </c:pt>
                <c:pt idx="418">
                  <c:v>506</c:v>
                </c:pt>
                <c:pt idx="419">
                  <c:v>524</c:v>
                </c:pt>
                <c:pt idx="420">
                  <c:v>527</c:v>
                </c:pt>
                <c:pt idx="421">
                  <c:v>542</c:v>
                </c:pt>
                <c:pt idx="422">
                  <c:v>543</c:v>
                </c:pt>
                <c:pt idx="423">
                  <c:v>548</c:v>
                </c:pt>
                <c:pt idx="424">
                  <c:v>548</c:v>
                </c:pt>
                <c:pt idx="425">
                  <c:v>549</c:v>
                </c:pt>
                <c:pt idx="426">
                  <c:v>590</c:v>
                </c:pt>
                <c:pt idx="427">
                  <c:v>601</c:v>
                </c:pt>
                <c:pt idx="428">
                  <c:v>615</c:v>
                </c:pt>
                <c:pt idx="429">
                  <c:v>629</c:v>
                </c:pt>
                <c:pt idx="430">
                  <c:v>647</c:v>
                </c:pt>
                <c:pt idx="431">
                  <c:v>653</c:v>
                </c:pt>
                <c:pt idx="432">
                  <c:v>655</c:v>
                </c:pt>
                <c:pt idx="433">
                  <c:v>703</c:v>
                </c:pt>
                <c:pt idx="434">
                  <c:v>716</c:v>
                </c:pt>
                <c:pt idx="435">
                  <c:v>727</c:v>
                </c:pt>
                <c:pt idx="436">
                  <c:v>754</c:v>
                </c:pt>
                <c:pt idx="437">
                  <c:v>783</c:v>
                </c:pt>
                <c:pt idx="438">
                  <c:v>791</c:v>
                </c:pt>
                <c:pt idx="439">
                  <c:v>797</c:v>
                </c:pt>
                <c:pt idx="440">
                  <c:v>845</c:v>
                </c:pt>
                <c:pt idx="441">
                  <c:v>842</c:v>
                </c:pt>
                <c:pt idx="442">
                  <c:v>825</c:v>
                </c:pt>
                <c:pt idx="443">
                  <c:v>842</c:v>
                </c:pt>
                <c:pt idx="444">
                  <c:v>866</c:v>
                </c:pt>
                <c:pt idx="445">
                  <c:v>852</c:v>
                </c:pt>
                <c:pt idx="446">
                  <c:v>848</c:v>
                </c:pt>
                <c:pt idx="447">
                  <c:v>908</c:v>
                </c:pt>
                <c:pt idx="448">
                  <c:v>910</c:v>
                </c:pt>
                <c:pt idx="449">
                  <c:v>920</c:v>
                </c:pt>
                <c:pt idx="450">
                  <c:v>922</c:v>
                </c:pt>
                <c:pt idx="451">
                  <c:v>929</c:v>
                </c:pt>
                <c:pt idx="452">
                  <c:v>917</c:v>
                </c:pt>
                <c:pt idx="453">
                  <c:v>906</c:v>
                </c:pt>
                <c:pt idx="454">
                  <c:v>941</c:v>
                </c:pt>
                <c:pt idx="455">
                  <c:v>922</c:v>
                </c:pt>
                <c:pt idx="456">
                  <c:v>915</c:v>
                </c:pt>
                <c:pt idx="457">
                  <c:v>931</c:v>
                </c:pt>
                <c:pt idx="458">
                  <c:v>893</c:v>
                </c:pt>
                <c:pt idx="459">
                  <c:v>857</c:v>
                </c:pt>
                <c:pt idx="460">
                  <c:v>848</c:v>
                </c:pt>
                <c:pt idx="461">
                  <c:v>882</c:v>
                </c:pt>
                <c:pt idx="462">
                  <c:v>844</c:v>
                </c:pt>
                <c:pt idx="463">
                  <c:v>823</c:v>
                </c:pt>
                <c:pt idx="464">
                  <c:v>784</c:v>
                </c:pt>
                <c:pt idx="465">
                  <c:v>764</c:v>
                </c:pt>
                <c:pt idx="466">
                  <c:v>729</c:v>
                </c:pt>
                <c:pt idx="467">
                  <c:v>724</c:v>
                </c:pt>
                <c:pt idx="468">
                  <c:v>742</c:v>
                </c:pt>
                <c:pt idx="469">
                  <c:v>711</c:v>
                </c:pt>
                <c:pt idx="470">
                  <c:v>680</c:v>
                </c:pt>
                <c:pt idx="471">
                  <c:v>655</c:v>
                </c:pt>
                <c:pt idx="472">
                  <c:v>631</c:v>
                </c:pt>
                <c:pt idx="473">
                  <c:v>585</c:v>
                </c:pt>
                <c:pt idx="474">
                  <c:v>579</c:v>
                </c:pt>
                <c:pt idx="475">
                  <c:v>591</c:v>
                </c:pt>
                <c:pt idx="476">
                  <c:v>544</c:v>
                </c:pt>
                <c:pt idx="477">
                  <c:v>511</c:v>
                </c:pt>
                <c:pt idx="478">
                  <c:v>478</c:v>
                </c:pt>
                <c:pt idx="479">
                  <c:v>464</c:v>
                </c:pt>
                <c:pt idx="480">
                  <c:v>440</c:v>
                </c:pt>
                <c:pt idx="481">
                  <c:v>431</c:v>
                </c:pt>
                <c:pt idx="482">
                  <c:v>430</c:v>
                </c:pt>
                <c:pt idx="483">
                  <c:v>413</c:v>
                </c:pt>
                <c:pt idx="484">
                  <c:v>380</c:v>
                </c:pt>
                <c:pt idx="485">
                  <c:v>367</c:v>
                </c:pt>
                <c:pt idx="486">
                  <c:v>355</c:v>
                </c:pt>
                <c:pt idx="487">
                  <c:v>335</c:v>
                </c:pt>
                <c:pt idx="488">
                  <c:v>328</c:v>
                </c:pt>
                <c:pt idx="489">
                  <c:v>336</c:v>
                </c:pt>
                <c:pt idx="490">
                  <c:v>322</c:v>
                </c:pt>
                <c:pt idx="491">
                  <c:v>314</c:v>
                </c:pt>
                <c:pt idx="492">
                  <c:v>315</c:v>
                </c:pt>
                <c:pt idx="493">
                  <c:v>318</c:v>
                </c:pt>
                <c:pt idx="494">
                  <c:v>315</c:v>
                </c:pt>
                <c:pt idx="495">
                  <c:v>313</c:v>
                </c:pt>
                <c:pt idx="496">
                  <c:v>329</c:v>
                </c:pt>
                <c:pt idx="497">
                  <c:v>318</c:v>
                </c:pt>
                <c:pt idx="498">
                  <c:v>309</c:v>
                </c:pt>
                <c:pt idx="499">
                  <c:v>304</c:v>
                </c:pt>
                <c:pt idx="500">
                  <c:v>302</c:v>
                </c:pt>
                <c:pt idx="501">
                  <c:v>305</c:v>
                </c:pt>
                <c:pt idx="502">
                  <c:v>314</c:v>
                </c:pt>
                <c:pt idx="503">
                  <c:v>356</c:v>
                </c:pt>
                <c:pt idx="504">
                  <c:v>368</c:v>
                </c:pt>
                <c:pt idx="505">
                  <c:v>397</c:v>
                </c:pt>
                <c:pt idx="506">
                  <c:v>437</c:v>
                </c:pt>
                <c:pt idx="507">
                  <c:v>489</c:v>
                </c:pt>
                <c:pt idx="508">
                  <c:v>482</c:v>
                </c:pt>
                <c:pt idx="509">
                  <c:v>482</c:v>
                </c:pt>
                <c:pt idx="510">
                  <c:v>541</c:v>
                </c:pt>
                <c:pt idx="511">
                  <c:v>584</c:v>
                </c:pt>
                <c:pt idx="512">
                  <c:v>651</c:v>
                </c:pt>
                <c:pt idx="513">
                  <c:v>721</c:v>
                </c:pt>
                <c:pt idx="514">
                  <c:v>758</c:v>
                </c:pt>
                <c:pt idx="515">
                  <c:v>754</c:v>
                </c:pt>
                <c:pt idx="516">
                  <c:v>738</c:v>
                </c:pt>
                <c:pt idx="517">
                  <c:v>767</c:v>
                </c:pt>
                <c:pt idx="518">
                  <c:v>808</c:v>
                </c:pt>
                <c:pt idx="519">
                  <c:v>876</c:v>
                </c:pt>
                <c:pt idx="520">
                  <c:v>886</c:v>
                </c:pt>
                <c:pt idx="521">
                  <c:v>8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23</c:f>
              <c:numCache>
                <c:formatCode>m/d/yyyy</c:formatCode>
                <c:ptCount val="5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</c:numCache>
            </c:numRef>
          </c:cat>
          <c:val>
            <c:numRef>
              <c:f>List1!$D$2:$D$523</c:f>
              <c:numCache>
                <c:formatCode>General</c:formatCode>
                <c:ptCount val="522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9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9</c:v>
                </c:pt>
                <c:pt idx="10">
                  <c:v>9</c:v>
                </c:pt>
                <c:pt idx="11">
                  <c:v>13</c:v>
                </c:pt>
                <c:pt idx="12">
                  <c:v>3</c:v>
                </c:pt>
                <c:pt idx="13">
                  <c:v>6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10</c:v>
                </c:pt>
                <c:pt idx="18">
                  <c:v>9</c:v>
                </c:pt>
                <c:pt idx="19">
                  <c:v>14</c:v>
                </c:pt>
                <c:pt idx="20">
                  <c:v>13</c:v>
                </c:pt>
                <c:pt idx="21">
                  <c:v>14</c:v>
                </c:pt>
                <c:pt idx="22">
                  <c:v>14</c:v>
                </c:pt>
                <c:pt idx="23">
                  <c:v>21</c:v>
                </c:pt>
                <c:pt idx="24">
                  <c:v>30</c:v>
                </c:pt>
                <c:pt idx="25">
                  <c:v>39</c:v>
                </c:pt>
                <c:pt idx="26">
                  <c:v>40</c:v>
                </c:pt>
                <c:pt idx="27">
                  <c:v>43</c:v>
                </c:pt>
                <c:pt idx="28">
                  <c:v>68</c:v>
                </c:pt>
                <c:pt idx="29">
                  <c:v>98</c:v>
                </c:pt>
                <c:pt idx="30">
                  <c:v>155</c:v>
                </c:pt>
                <c:pt idx="31">
                  <c:v>300</c:v>
                </c:pt>
                <c:pt idx="32">
                  <c:v>359</c:v>
                </c:pt>
                <c:pt idx="33">
                  <c:v>426</c:v>
                </c:pt>
                <c:pt idx="34">
                  <c:v>668</c:v>
                </c:pt>
                <c:pt idx="35">
                  <c:v>775</c:v>
                </c:pt>
                <c:pt idx="36">
                  <c:v>840</c:v>
                </c:pt>
                <c:pt idx="37">
                  <c:v>990</c:v>
                </c:pt>
                <c:pt idx="38">
                  <c:v>1204</c:v>
                </c:pt>
                <c:pt idx="39">
                  <c:v>1262</c:v>
                </c:pt>
                <c:pt idx="40">
                  <c:v>1245</c:v>
                </c:pt>
                <c:pt idx="41">
                  <c:v>1492</c:v>
                </c:pt>
                <c:pt idx="42">
                  <c:v>1788</c:v>
                </c:pt>
                <c:pt idx="43">
                  <c:v>2087</c:v>
                </c:pt>
                <c:pt idx="44">
                  <c:v>2430</c:v>
                </c:pt>
                <c:pt idx="45">
                  <c:v>2724</c:v>
                </c:pt>
                <c:pt idx="46">
                  <c:v>2869</c:v>
                </c:pt>
                <c:pt idx="47">
                  <c:v>2817</c:v>
                </c:pt>
                <c:pt idx="48">
                  <c:v>3126</c:v>
                </c:pt>
                <c:pt idx="49">
                  <c:v>3379</c:v>
                </c:pt>
                <c:pt idx="50">
                  <c:v>3884</c:v>
                </c:pt>
                <c:pt idx="51">
                  <c:v>4199</c:v>
                </c:pt>
                <c:pt idx="52">
                  <c:v>4755</c:v>
                </c:pt>
                <c:pt idx="53">
                  <c:v>4907</c:v>
                </c:pt>
                <c:pt idx="54">
                  <c:v>4916</c:v>
                </c:pt>
                <c:pt idx="55">
                  <c:v>5262</c:v>
                </c:pt>
                <c:pt idx="56">
                  <c:v>5767</c:v>
                </c:pt>
                <c:pt idx="57">
                  <c:v>5806</c:v>
                </c:pt>
                <c:pt idx="58">
                  <c:v>6645</c:v>
                </c:pt>
                <c:pt idx="59">
                  <c:v>7079</c:v>
                </c:pt>
                <c:pt idx="60">
                  <c:v>7079</c:v>
                </c:pt>
                <c:pt idx="61">
                  <c:v>6815</c:v>
                </c:pt>
                <c:pt idx="62">
                  <c:v>6898</c:v>
                </c:pt>
                <c:pt idx="63">
                  <c:v>6751</c:v>
                </c:pt>
                <c:pt idx="64">
                  <c:v>7154</c:v>
                </c:pt>
                <c:pt idx="65">
                  <c:v>7663</c:v>
                </c:pt>
                <c:pt idx="66">
                  <c:v>7341</c:v>
                </c:pt>
                <c:pt idx="67">
                  <c:v>6740</c:v>
                </c:pt>
                <c:pt idx="68">
                  <c:v>6559</c:v>
                </c:pt>
                <c:pt idx="69">
                  <c:v>6164</c:v>
                </c:pt>
                <c:pt idx="70">
                  <c:v>5898</c:v>
                </c:pt>
                <c:pt idx="71">
                  <c:v>6434</c:v>
                </c:pt>
                <c:pt idx="72">
                  <c:v>6939</c:v>
                </c:pt>
                <c:pt idx="73">
                  <c:v>6890</c:v>
                </c:pt>
                <c:pt idx="74">
                  <c:v>6345</c:v>
                </c:pt>
                <c:pt idx="75">
                  <c:v>5993</c:v>
                </c:pt>
                <c:pt idx="76">
                  <c:v>5975</c:v>
                </c:pt>
                <c:pt idx="77">
                  <c:v>5601</c:v>
                </c:pt>
                <c:pt idx="78">
                  <c:v>5889</c:v>
                </c:pt>
                <c:pt idx="79">
                  <c:v>6112</c:v>
                </c:pt>
                <c:pt idx="80">
                  <c:v>6115</c:v>
                </c:pt>
                <c:pt idx="81">
                  <c:v>5480</c:v>
                </c:pt>
                <c:pt idx="82">
                  <c:v>5017</c:v>
                </c:pt>
                <c:pt idx="83">
                  <c:v>5126</c:v>
                </c:pt>
                <c:pt idx="84">
                  <c:v>4777</c:v>
                </c:pt>
                <c:pt idx="85">
                  <c:v>4794</c:v>
                </c:pt>
                <c:pt idx="86">
                  <c:v>4912</c:v>
                </c:pt>
                <c:pt idx="87">
                  <c:v>4632</c:v>
                </c:pt>
                <c:pt idx="88">
                  <c:v>4561</c:v>
                </c:pt>
                <c:pt idx="89">
                  <c:v>4158</c:v>
                </c:pt>
                <c:pt idx="90">
                  <c:v>4035</c:v>
                </c:pt>
                <c:pt idx="91">
                  <c:v>3844</c:v>
                </c:pt>
                <c:pt idx="92">
                  <c:v>3923</c:v>
                </c:pt>
                <c:pt idx="93">
                  <c:v>4019</c:v>
                </c:pt>
                <c:pt idx="94">
                  <c:v>3844</c:v>
                </c:pt>
                <c:pt idx="95">
                  <c:v>3614</c:v>
                </c:pt>
                <c:pt idx="96">
                  <c:v>3388</c:v>
                </c:pt>
                <c:pt idx="97">
                  <c:v>3400</c:v>
                </c:pt>
                <c:pt idx="98">
                  <c:v>3240</c:v>
                </c:pt>
                <c:pt idx="99">
                  <c:v>3333</c:v>
                </c:pt>
                <c:pt idx="100">
                  <c:v>3431</c:v>
                </c:pt>
                <c:pt idx="101">
                  <c:v>3399</c:v>
                </c:pt>
                <c:pt idx="102">
                  <c:v>3234</c:v>
                </c:pt>
                <c:pt idx="103">
                  <c:v>3148</c:v>
                </c:pt>
                <c:pt idx="104">
                  <c:v>3198</c:v>
                </c:pt>
                <c:pt idx="105">
                  <c:v>3183</c:v>
                </c:pt>
                <c:pt idx="106">
                  <c:v>3251</c:v>
                </c:pt>
                <c:pt idx="107">
                  <c:v>3288</c:v>
                </c:pt>
                <c:pt idx="108">
                  <c:v>3290</c:v>
                </c:pt>
                <c:pt idx="109">
                  <c:v>3106</c:v>
                </c:pt>
                <c:pt idx="110">
                  <c:v>2990</c:v>
                </c:pt>
                <c:pt idx="111">
                  <c:v>3143</c:v>
                </c:pt>
                <c:pt idx="112">
                  <c:v>3202</c:v>
                </c:pt>
                <c:pt idx="113">
                  <c:v>3316</c:v>
                </c:pt>
                <c:pt idx="114">
                  <c:v>3300</c:v>
                </c:pt>
                <c:pt idx="115">
                  <c:v>3147</c:v>
                </c:pt>
                <c:pt idx="116">
                  <c:v>3079</c:v>
                </c:pt>
                <c:pt idx="117">
                  <c:v>3050</c:v>
                </c:pt>
                <c:pt idx="118">
                  <c:v>3212</c:v>
                </c:pt>
                <c:pt idx="119">
                  <c:v>3348</c:v>
                </c:pt>
                <c:pt idx="120">
                  <c:v>3523</c:v>
                </c:pt>
                <c:pt idx="121">
                  <c:v>3678</c:v>
                </c:pt>
                <c:pt idx="122">
                  <c:v>3446</c:v>
                </c:pt>
                <c:pt idx="123">
                  <c:v>3344</c:v>
                </c:pt>
                <c:pt idx="124">
                  <c:v>3109</c:v>
                </c:pt>
                <c:pt idx="125">
                  <c:v>3605</c:v>
                </c:pt>
                <c:pt idx="126">
                  <c:v>3820</c:v>
                </c:pt>
                <c:pt idx="127">
                  <c:v>3985</c:v>
                </c:pt>
                <c:pt idx="128">
                  <c:v>4191</c:v>
                </c:pt>
                <c:pt idx="129">
                  <c:v>4098</c:v>
                </c:pt>
                <c:pt idx="130">
                  <c:v>3847</c:v>
                </c:pt>
                <c:pt idx="131">
                  <c:v>3583</c:v>
                </c:pt>
                <c:pt idx="132">
                  <c:v>3877</c:v>
                </c:pt>
                <c:pt idx="133">
                  <c:v>4024</c:v>
                </c:pt>
                <c:pt idx="134">
                  <c:v>4199</c:v>
                </c:pt>
                <c:pt idx="135">
                  <c:v>4250</c:v>
                </c:pt>
                <c:pt idx="136">
                  <c:v>4024</c:v>
                </c:pt>
                <c:pt idx="137">
                  <c:v>3687</c:v>
                </c:pt>
                <c:pt idx="138">
                  <c:v>3423</c:v>
                </c:pt>
                <c:pt idx="139">
                  <c:v>3365</c:v>
                </c:pt>
                <c:pt idx="140">
                  <c:v>3199</c:v>
                </c:pt>
                <c:pt idx="141">
                  <c:v>3315</c:v>
                </c:pt>
                <c:pt idx="142">
                  <c:v>3414</c:v>
                </c:pt>
                <c:pt idx="143">
                  <c:v>3190</c:v>
                </c:pt>
                <c:pt idx="144">
                  <c:v>3046</c:v>
                </c:pt>
                <c:pt idx="145">
                  <c:v>2836</c:v>
                </c:pt>
                <c:pt idx="146">
                  <c:v>2807</c:v>
                </c:pt>
                <c:pt idx="147">
                  <c:v>2757</c:v>
                </c:pt>
                <c:pt idx="148">
                  <c:v>2834</c:v>
                </c:pt>
                <c:pt idx="149">
                  <c:v>2881</c:v>
                </c:pt>
                <c:pt idx="150">
                  <c:v>2657</c:v>
                </c:pt>
                <c:pt idx="151">
                  <c:v>2547</c:v>
                </c:pt>
                <c:pt idx="152">
                  <c:v>2336</c:v>
                </c:pt>
                <c:pt idx="153">
                  <c:v>2387</c:v>
                </c:pt>
                <c:pt idx="154">
                  <c:v>2402</c:v>
                </c:pt>
                <c:pt idx="155">
                  <c:v>2495</c:v>
                </c:pt>
                <c:pt idx="156">
                  <c:v>2548</c:v>
                </c:pt>
                <c:pt idx="157">
                  <c:v>2463</c:v>
                </c:pt>
                <c:pt idx="158">
                  <c:v>2332</c:v>
                </c:pt>
                <c:pt idx="159">
                  <c:v>2233</c:v>
                </c:pt>
                <c:pt idx="160">
                  <c:v>2274</c:v>
                </c:pt>
                <c:pt idx="161">
                  <c:v>2237</c:v>
                </c:pt>
                <c:pt idx="162">
                  <c:v>2293</c:v>
                </c:pt>
                <c:pt idx="163">
                  <c:v>2367</c:v>
                </c:pt>
                <c:pt idx="164">
                  <c:v>2292</c:v>
                </c:pt>
                <c:pt idx="165">
                  <c:v>2110</c:v>
                </c:pt>
                <c:pt idx="166">
                  <c:v>1970</c:v>
                </c:pt>
                <c:pt idx="167">
                  <c:v>1967</c:v>
                </c:pt>
                <c:pt idx="168">
                  <c:v>1872</c:v>
                </c:pt>
                <c:pt idx="169">
                  <c:v>1870</c:v>
                </c:pt>
                <c:pt idx="170">
                  <c:v>1905</c:v>
                </c:pt>
                <c:pt idx="171">
                  <c:v>1817</c:v>
                </c:pt>
                <c:pt idx="172">
                  <c:v>1715</c:v>
                </c:pt>
                <c:pt idx="173">
                  <c:v>1619</c:v>
                </c:pt>
                <c:pt idx="174">
                  <c:v>1695</c:v>
                </c:pt>
                <c:pt idx="175">
                  <c:v>1685</c:v>
                </c:pt>
                <c:pt idx="176">
                  <c:v>1712</c:v>
                </c:pt>
                <c:pt idx="177">
                  <c:v>1768</c:v>
                </c:pt>
                <c:pt idx="178">
                  <c:v>1736</c:v>
                </c:pt>
                <c:pt idx="179">
                  <c:v>1656</c:v>
                </c:pt>
                <c:pt idx="180">
                  <c:v>1601</c:v>
                </c:pt>
                <c:pt idx="181">
                  <c:v>1674</c:v>
                </c:pt>
                <c:pt idx="182">
                  <c:v>1634</c:v>
                </c:pt>
                <c:pt idx="183">
                  <c:v>1684</c:v>
                </c:pt>
                <c:pt idx="184">
                  <c:v>1709</c:v>
                </c:pt>
                <c:pt idx="185">
                  <c:v>1591</c:v>
                </c:pt>
                <c:pt idx="186">
                  <c:v>1510</c:v>
                </c:pt>
                <c:pt idx="187">
                  <c:v>1435</c:v>
                </c:pt>
                <c:pt idx="188">
                  <c:v>1451</c:v>
                </c:pt>
                <c:pt idx="189">
                  <c:v>1459</c:v>
                </c:pt>
                <c:pt idx="190">
                  <c:v>1522</c:v>
                </c:pt>
                <c:pt idx="191">
                  <c:v>1537</c:v>
                </c:pt>
                <c:pt idx="192">
                  <c:v>1574</c:v>
                </c:pt>
                <c:pt idx="193">
                  <c:v>1582</c:v>
                </c:pt>
                <c:pt idx="194">
                  <c:v>1589</c:v>
                </c:pt>
                <c:pt idx="195">
                  <c:v>1652</c:v>
                </c:pt>
                <c:pt idx="196">
                  <c:v>1551</c:v>
                </c:pt>
                <c:pt idx="197">
                  <c:v>1506</c:v>
                </c:pt>
                <c:pt idx="198">
                  <c:v>1453</c:v>
                </c:pt>
                <c:pt idx="199">
                  <c:v>1434</c:v>
                </c:pt>
                <c:pt idx="200">
                  <c:v>1380</c:v>
                </c:pt>
                <c:pt idx="201">
                  <c:v>1374</c:v>
                </c:pt>
                <c:pt idx="202">
                  <c:v>1406</c:v>
                </c:pt>
                <c:pt idx="203">
                  <c:v>1362</c:v>
                </c:pt>
                <c:pt idx="204">
                  <c:v>1301</c:v>
                </c:pt>
                <c:pt idx="205">
                  <c:v>1268</c:v>
                </c:pt>
                <c:pt idx="206">
                  <c:v>1238</c:v>
                </c:pt>
                <c:pt idx="207">
                  <c:v>1181</c:v>
                </c:pt>
                <c:pt idx="208">
                  <c:v>1172</c:v>
                </c:pt>
                <c:pt idx="209">
                  <c:v>1191</c:v>
                </c:pt>
                <c:pt idx="210">
                  <c:v>1149</c:v>
                </c:pt>
                <c:pt idx="211">
                  <c:v>1112</c:v>
                </c:pt>
                <c:pt idx="212">
                  <c:v>1086</c:v>
                </c:pt>
                <c:pt idx="213">
                  <c:v>1033</c:v>
                </c:pt>
                <c:pt idx="214">
                  <c:v>1007</c:v>
                </c:pt>
                <c:pt idx="215">
                  <c:v>1003</c:v>
                </c:pt>
                <c:pt idx="216">
                  <c:v>1004</c:v>
                </c:pt>
                <c:pt idx="217">
                  <c:v>960</c:v>
                </c:pt>
                <c:pt idx="218">
                  <c:v>950</c:v>
                </c:pt>
                <c:pt idx="219">
                  <c:v>932</c:v>
                </c:pt>
                <c:pt idx="220">
                  <c:v>896</c:v>
                </c:pt>
                <c:pt idx="221">
                  <c:v>877</c:v>
                </c:pt>
                <c:pt idx="222">
                  <c:v>872</c:v>
                </c:pt>
                <c:pt idx="223">
                  <c:v>877</c:v>
                </c:pt>
                <c:pt idx="224">
                  <c:v>842</c:v>
                </c:pt>
                <c:pt idx="225">
                  <c:v>814</c:v>
                </c:pt>
                <c:pt idx="226">
                  <c:v>799</c:v>
                </c:pt>
                <c:pt idx="227">
                  <c:v>779</c:v>
                </c:pt>
                <c:pt idx="228">
                  <c:v>776</c:v>
                </c:pt>
                <c:pt idx="229">
                  <c:v>774</c:v>
                </c:pt>
                <c:pt idx="230">
                  <c:v>786</c:v>
                </c:pt>
                <c:pt idx="231">
                  <c:v>775</c:v>
                </c:pt>
                <c:pt idx="232">
                  <c:v>745</c:v>
                </c:pt>
                <c:pt idx="233">
                  <c:v>726</c:v>
                </c:pt>
                <c:pt idx="234">
                  <c:v>722</c:v>
                </c:pt>
                <c:pt idx="235">
                  <c:v>707</c:v>
                </c:pt>
                <c:pt idx="236">
                  <c:v>704</c:v>
                </c:pt>
                <c:pt idx="237">
                  <c:v>709</c:v>
                </c:pt>
                <c:pt idx="238">
                  <c:v>704</c:v>
                </c:pt>
                <c:pt idx="239">
                  <c:v>698</c:v>
                </c:pt>
                <c:pt idx="240">
                  <c:v>693</c:v>
                </c:pt>
                <c:pt idx="241">
                  <c:v>690</c:v>
                </c:pt>
                <c:pt idx="242">
                  <c:v>681</c:v>
                </c:pt>
                <c:pt idx="243">
                  <c:v>680</c:v>
                </c:pt>
                <c:pt idx="244">
                  <c:v>684</c:v>
                </c:pt>
                <c:pt idx="245">
                  <c:v>668</c:v>
                </c:pt>
                <c:pt idx="246">
                  <c:v>661</c:v>
                </c:pt>
                <c:pt idx="247">
                  <c:v>655</c:v>
                </c:pt>
                <c:pt idx="248">
                  <c:v>652</c:v>
                </c:pt>
                <c:pt idx="249">
                  <c:v>641</c:v>
                </c:pt>
                <c:pt idx="250">
                  <c:v>642</c:v>
                </c:pt>
                <c:pt idx="251">
                  <c:v>649</c:v>
                </c:pt>
                <c:pt idx="252">
                  <c:v>644</c:v>
                </c:pt>
                <c:pt idx="253">
                  <c:v>636</c:v>
                </c:pt>
                <c:pt idx="254">
                  <c:v>635</c:v>
                </c:pt>
                <c:pt idx="255">
                  <c:v>633</c:v>
                </c:pt>
                <c:pt idx="256">
                  <c:v>628</c:v>
                </c:pt>
                <c:pt idx="257">
                  <c:v>627</c:v>
                </c:pt>
                <c:pt idx="258">
                  <c:v>631</c:v>
                </c:pt>
                <c:pt idx="259">
                  <c:v>629</c:v>
                </c:pt>
                <c:pt idx="260">
                  <c:v>628</c:v>
                </c:pt>
                <c:pt idx="261">
                  <c:v>626</c:v>
                </c:pt>
                <c:pt idx="262">
                  <c:v>626</c:v>
                </c:pt>
                <c:pt idx="263">
                  <c:v>622</c:v>
                </c:pt>
                <c:pt idx="264">
                  <c:v>621</c:v>
                </c:pt>
                <c:pt idx="265">
                  <c:v>624</c:v>
                </c:pt>
                <c:pt idx="266">
                  <c:v>621</c:v>
                </c:pt>
                <c:pt idx="267">
                  <c:v>617</c:v>
                </c:pt>
                <c:pt idx="268">
                  <c:v>615</c:v>
                </c:pt>
                <c:pt idx="269">
                  <c:v>612</c:v>
                </c:pt>
                <c:pt idx="270">
                  <c:v>610</c:v>
                </c:pt>
                <c:pt idx="271">
                  <c:v>607</c:v>
                </c:pt>
                <c:pt idx="272">
                  <c:v>605</c:v>
                </c:pt>
                <c:pt idx="273">
                  <c:v>601</c:v>
                </c:pt>
                <c:pt idx="274">
                  <c:v>601</c:v>
                </c:pt>
                <c:pt idx="275">
                  <c:v>596</c:v>
                </c:pt>
                <c:pt idx="276">
                  <c:v>591</c:v>
                </c:pt>
                <c:pt idx="277">
                  <c:v>590</c:v>
                </c:pt>
                <c:pt idx="278">
                  <c:v>590</c:v>
                </c:pt>
                <c:pt idx="279">
                  <c:v>589</c:v>
                </c:pt>
                <c:pt idx="280">
                  <c:v>587</c:v>
                </c:pt>
                <c:pt idx="281">
                  <c:v>584</c:v>
                </c:pt>
                <c:pt idx="282">
                  <c:v>583</c:v>
                </c:pt>
                <c:pt idx="283">
                  <c:v>584</c:v>
                </c:pt>
                <c:pt idx="284">
                  <c:v>581</c:v>
                </c:pt>
                <c:pt idx="285">
                  <c:v>581</c:v>
                </c:pt>
                <c:pt idx="286">
                  <c:v>581</c:v>
                </c:pt>
                <c:pt idx="287">
                  <c:v>581</c:v>
                </c:pt>
                <c:pt idx="288">
                  <c:v>581</c:v>
                </c:pt>
                <c:pt idx="289">
                  <c:v>580</c:v>
                </c:pt>
                <c:pt idx="290">
                  <c:v>580</c:v>
                </c:pt>
                <c:pt idx="291">
                  <c:v>580</c:v>
                </c:pt>
                <c:pt idx="292">
                  <c:v>580</c:v>
                </c:pt>
                <c:pt idx="293">
                  <c:v>580</c:v>
                </c:pt>
                <c:pt idx="294">
                  <c:v>580</c:v>
                </c:pt>
                <c:pt idx="295">
                  <c:v>581</c:v>
                </c:pt>
                <c:pt idx="296">
                  <c:v>581</c:v>
                </c:pt>
                <c:pt idx="297">
                  <c:v>579</c:v>
                </c:pt>
                <c:pt idx="298">
                  <c:v>579</c:v>
                </c:pt>
                <c:pt idx="299">
                  <c:v>579</c:v>
                </c:pt>
                <c:pt idx="300">
                  <c:v>579</c:v>
                </c:pt>
                <c:pt idx="301">
                  <c:v>579</c:v>
                </c:pt>
                <c:pt idx="302">
                  <c:v>579</c:v>
                </c:pt>
                <c:pt idx="303">
                  <c:v>580</c:v>
                </c:pt>
                <c:pt idx="304">
                  <c:v>578</c:v>
                </c:pt>
                <c:pt idx="305">
                  <c:v>578</c:v>
                </c:pt>
                <c:pt idx="306">
                  <c:v>579</c:v>
                </c:pt>
                <c:pt idx="307">
                  <c:v>579</c:v>
                </c:pt>
                <c:pt idx="308">
                  <c:v>579</c:v>
                </c:pt>
                <c:pt idx="309">
                  <c:v>579</c:v>
                </c:pt>
                <c:pt idx="310">
                  <c:v>578</c:v>
                </c:pt>
                <c:pt idx="311">
                  <c:v>578</c:v>
                </c:pt>
                <c:pt idx="312">
                  <c:v>578</c:v>
                </c:pt>
                <c:pt idx="313">
                  <c:v>578</c:v>
                </c:pt>
                <c:pt idx="314">
                  <c:v>578</c:v>
                </c:pt>
                <c:pt idx="315">
                  <c:v>578</c:v>
                </c:pt>
                <c:pt idx="316">
                  <c:v>578</c:v>
                </c:pt>
                <c:pt idx="317">
                  <c:v>578</c:v>
                </c:pt>
                <c:pt idx="318">
                  <c:v>577</c:v>
                </c:pt>
                <c:pt idx="319">
                  <c:v>577</c:v>
                </c:pt>
                <c:pt idx="320">
                  <c:v>577</c:v>
                </c:pt>
                <c:pt idx="321">
                  <c:v>577</c:v>
                </c:pt>
                <c:pt idx="322">
                  <c:v>576</c:v>
                </c:pt>
                <c:pt idx="323">
                  <c:v>577</c:v>
                </c:pt>
                <c:pt idx="324">
                  <c:v>576</c:v>
                </c:pt>
                <c:pt idx="325">
                  <c:v>576</c:v>
                </c:pt>
                <c:pt idx="326">
                  <c:v>576</c:v>
                </c:pt>
                <c:pt idx="327">
                  <c:v>575</c:v>
                </c:pt>
                <c:pt idx="328">
                  <c:v>574</c:v>
                </c:pt>
                <c:pt idx="329">
                  <c:v>575</c:v>
                </c:pt>
                <c:pt idx="330">
                  <c:v>576</c:v>
                </c:pt>
                <c:pt idx="331">
                  <c:v>576</c:v>
                </c:pt>
                <c:pt idx="332">
                  <c:v>575</c:v>
                </c:pt>
                <c:pt idx="333">
                  <c:v>575</c:v>
                </c:pt>
                <c:pt idx="334">
                  <c:v>575</c:v>
                </c:pt>
                <c:pt idx="335">
                  <c:v>575</c:v>
                </c:pt>
                <c:pt idx="336">
                  <c:v>574</c:v>
                </c:pt>
                <c:pt idx="337">
                  <c:v>574</c:v>
                </c:pt>
                <c:pt idx="338">
                  <c:v>573</c:v>
                </c:pt>
                <c:pt idx="339">
                  <c:v>573</c:v>
                </c:pt>
                <c:pt idx="340">
                  <c:v>573</c:v>
                </c:pt>
                <c:pt idx="341">
                  <c:v>574</c:v>
                </c:pt>
                <c:pt idx="342">
                  <c:v>574</c:v>
                </c:pt>
                <c:pt idx="343">
                  <c:v>573</c:v>
                </c:pt>
                <c:pt idx="344">
                  <c:v>573</c:v>
                </c:pt>
                <c:pt idx="345">
                  <c:v>573</c:v>
                </c:pt>
                <c:pt idx="346">
                  <c:v>573</c:v>
                </c:pt>
                <c:pt idx="347">
                  <c:v>573</c:v>
                </c:pt>
                <c:pt idx="348">
                  <c:v>573</c:v>
                </c:pt>
                <c:pt idx="349">
                  <c:v>574</c:v>
                </c:pt>
                <c:pt idx="350">
                  <c:v>574</c:v>
                </c:pt>
                <c:pt idx="351">
                  <c:v>574</c:v>
                </c:pt>
                <c:pt idx="352">
                  <c:v>575</c:v>
                </c:pt>
                <c:pt idx="353">
                  <c:v>574</c:v>
                </c:pt>
                <c:pt idx="354">
                  <c:v>574</c:v>
                </c:pt>
                <c:pt idx="355">
                  <c:v>574</c:v>
                </c:pt>
                <c:pt idx="356">
                  <c:v>577</c:v>
                </c:pt>
                <c:pt idx="357">
                  <c:v>577</c:v>
                </c:pt>
                <c:pt idx="358">
                  <c:v>577</c:v>
                </c:pt>
                <c:pt idx="359">
                  <c:v>577</c:v>
                </c:pt>
                <c:pt idx="360">
                  <c:v>578</c:v>
                </c:pt>
                <c:pt idx="361">
                  <c:v>577</c:v>
                </c:pt>
                <c:pt idx="362">
                  <c:v>577</c:v>
                </c:pt>
                <c:pt idx="363">
                  <c:v>577</c:v>
                </c:pt>
                <c:pt idx="364">
                  <c:v>577</c:v>
                </c:pt>
                <c:pt idx="365">
                  <c:v>583</c:v>
                </c:pt>
                <c:pt idx="366">
                  <c:v>588</c:v>
                </c:pt>
                <c:pt idx="367">
                  <c:v>591</c:v>
                </c:pt>
                <c:pt idx="368">
                  <c:v>592</c:v>
                </c:pt>
                <c:pt idx="369">
                  <c:v>591</c:v>
                </c:pt>
                <c:pt idx="370">
                  <c:v>596</c:v>
                </c:pt>
                <c:pt idx="371">
                  <c:v>594</c:v>
                </c:pt>
                <c:pt idx="372">
                  <c:v>595</c:v>
                </c:pt>
                <c:pt idx="373">
                  <c:v>596</c:v>
                </c:pt>
                <c:pt idx="374">
                  <c:v>596</c:v>
                </c:pt>
                <c:pt idx="375">
                  <c:v>595</c:v>
                </c:pt>
                <c:pt idx="376">
                  <c:v>594</c:v>
                </c:pt>
                <c:pt idx="377">
                  <c:v>595</c:v>
                </c:pt>
                <c:pt idx="378">
                  <c:v>596</c:v>
                </c:pt>
                <c:pt idx="379">
                  <c:v>595</c:v>
                </c:pt>
                <c:pt idx="380">
                  <c:v>594</c:v>
                </c:pt>
                <c:pt idx="381">
                  <c:v>591</c:v>
                </c:pt>
                <c:pt idx="382">
                  <c:v>589</c:v>
                </c:pt>
                <c:pt idx="383">
                  <c:v>589</c:v>
                </c:pt>
                <c:pt idx="384">
                  <c:v>594</c:v>
                </c:pt>
                <c:pt idx="385">
                  <c:v>594</c:v>
                </c:pt>
                <c:pt idx="386">
                  <c:v>594</c:v>
                </c:pt>
                <c:pt idx="387">
                  <c:v>592</c:v>
                </c:pt>
                <c:pt idx="388">
                  <c:v>592</c:v>
                </c:pt>
                <c:pt idx="389">
                  <c:v>593</c:v>
                </c:pt>
                <c:pt idx="390">
                  <c:v>594</c:v>
                </c:pt>
                <c:pt idx="391">
                  <c:v>600</c:v>
                </c:pt>
                <c:pt idx="392">
                  <c:v>600</c:v>
                </c:pt>
                <c:pt idx="393">
                  <c:v>606</c:v>
                </c:pt>
                <c:pt idx="394">
                  <c:v>607</c:v>
                </c:pt>
                <c:pt idx="395">
                  <c:v>609</c:v>
                </c:pt>
                <c:pt idx="396">
                  <c:v>609</c:v>
                </c:pt>
                <c:pt idx="397">
                  <c:v>609</c:v>
                </c:pt>
                <c:pt idx="398">
                  <c:v>613</c:v>
                </c:pt>
                <c:pt idx="399">
                  <c:v>617</c:v>
                </c:pt>
                <c:pt idx="400">
                  <c:v>625</c:v>
                </c:pt>
                <c:pt idx="401">
                  <c:v>625</c:v>
                </c:pt>
                <c:pt idx="402">
                  <c:v>651</c:v>
                </c:pt>
                <c:pt idx="403">
                  <c:v>652</c:v>
                </c:pt>
                <c:pt idx="404">
                  <c:v>650</c:v>
                </c:pt>
                <c:pt idx="405">
                  <c:v>653</c:v>
                </c:pt>
                <c:pt idx="406">
                  <c:v>649</c:v>
                </c:pt>
                <c:pt idx="407">
                  <c:v>668</c:v>
                </c:pt>
                <c:pt idx="408">
                  <c:v>666</c:v>
                </c:pt>
                <c:pt idx="409">
                  <c:v>671</c:v>
                </c:pt>
                <c:pt idx="410">
                  <c:v>671</c:v>
                </c:pt>
                <c:pt idx="411">
                  <c:v>671</c:v>
                </c:pt>
                <c:pt idx="412">
                  <c:v>687</c:v>
                </c:pt>
                <c:pt idx="413">
                  <c:v>692</c:v>
                </c:pt>
                <c:pt idx="414">
                  <c:v>696</c:v>
                </c:pt>
                <c:pt idx="415">
                  <c:v>698</c:v>
                </c:pt>
                <c:pt idx="416">
                  <c:v>687</c:v>
                </c:pt>
                <c:pt idx="417">
                  <c:v>682</c:v>
                </c:pt>
                <c:pt idx="418">
                  <c:v>683</c:v>
                </c:pt>
                <c:pt idx="419">
                  <c:v>714</c:v>
                </c:pt>
                <c:pt idx="420">
                  <c:v>725</c:v>
                </c:pt>
                <c:pt idx="421">
                  <c:v>748</c:v>
                </c:pt>
                <c:pt idx="422">
                  <c:v>733</c:v>
                </c:pt>
                <c:pt idx="423">
                  <c:v>756</c:v>
                </c:pt>
                <c:pt idx="424">
                  <c:v>759</c:v>
                </c:pt>
                <c:pt idx="425">
                  <c:v>769</c:v>
                </c:pt>
                <c:pt idx="426">
                  <c:v>845</c:v>
                </c:pt>
                <c:pt idx="427">
                  <c:v>867</c:v>
                </c:pt>
                <c:pt idx="428">
                  <c:v>886</c:v>
                </c:pt>
                <c:pt idx="429">
                  <c:v>947</c:v>
                </c:pt>
                <c:pt idx="430">
                  <c:v>984</c:v>
                </c:pt>
                <c:pt idx="431">
                  <c:v>984</c:v>
                </c:pt>
                <c:pt idx="432">
                  <c:v>985</c:v>
                </c:pt>
                <c:pt idx="433">
                  <c:v>1057</c:v>
                </c:pt>
                <c:pt idx="434">
                  <c:v>1084</c:v>
                </c:pt>
                <c:pt idx="435">
                  <c:v>1101</c:v>
                </c:pt>
                <c:pt idx="436">
                  <c:v>1137</c:v>
                </c:pt>
                <c:pt idx="437">
                  <c:v>1178</c:v>
                </c:pt>
                <c:pt idx="438">
                  <c:v>1183</c:v>
                </c:pt>
                <c:pt idx="439">
                  <c:v>1194</c:v>
                </c:pt>
                <c:pt idx="440">
                  <c:v>1272</c:v>
                </c:pt>
                <c:pt idx="441">
                  <c:v>1271</c:v>
                </c:pt>
                <c:pt idx="442">
                  <c:v>1258</c:v>
                </c:pt>
                <c:pt idx="443">
                  <c:v>1304</c:v>
                </c:pt>
                <c:pt idx="444">
                  <c:v>1384</c:v>
                </c:pt>
                <c:pt idx="445">
                  <c:v>1373</c:v>
                </c:pt>
                <c:pt idx="446">
                  <c:v>1367</c:v>
                </c:pt>
                <c:pt idx="447">
                  <c:v>1467</c:v>
                </c:pt>
                <c:pt idx="448">
                  <c:v>1456</c:v>
                </c:pt>
                <c:pt idx="449">
                  <c:v>1475</c:v>
                </c:pt>
                <c:pt idx="450">
                  <c:v>1476</c:v>
                </c:pt>
                <c:pt idx="451">
                  <c:v>1515</c:v>
                </c:pt>
                <c:pt idx="452">
                  <c:v>1488</c:v>
                </c:pt>
                <c:pt idx="453">
                  <c:v>1478</c:v>
                </c:pt>
                <c:pt idx="454">
                  <c:v>1545</c:v>
                </c:pt>
                <c:pt idx="455">
                  <c:v>1505</c:v>
                </c:pt>
                <c:pt idx="456">
                  <c:v>1471</c:v>
                </c:pt>
                <c:pt idx="457">
                  <c:v>1490</c:v>
                </c:pt>
                <c:pt idx="458">
                  <c:v>1346</c:v>
                </c:pt>
                <c:pt idx="459">
                  <c:v>1331</c:v>
                </c:pt>
                <c:pt idx="460">
                  <c:v>1303</c:v>
                </c:pt>
                <c:pt idx="461">
                  <c:v>1356</c:v>
                </c:pt>
                <c:pt idx="462">
                  <c:v>1294</c:v>
                </c:pt>
                <c:pt idx="463">
                  <c:v>1264</c:v>
                </c:pt>
                <c:pt idx="464">
                  <c:v>1214</c:v>
                </c:pt>
                <c:pt idx="465">
                  <c:v>1151</c:v>
                </c:pt>
                <c:pt idx="466">
                  <c:v>1102</c:v>
                </c:pt>
                <c:pt idx="467">
                  <c:v>1094</c:v>
                </c:pt>
                <c:pt idx="468">
                  <c:v>1119</c:v>
                </c:pt>
                <c:pt idx="469">
                  <c:v>1076</c:v>
                </c:pt>
                <c:pt idx="470">
                  <c:v>1036</c:v>
                </c:pt>
                <c:pt idx="471">
                  <c:v>987</c:v>
                </c:pt>
                <c:pt idx="472">
                  <c:v>946</c:v>
                </c:pt>
                <c:pt idx="473">
                  <c:v>853</c:v>
                </c:pt>
                <c:pt idx="474">
                  <c:v>848</c:v>
                </c:pt>
                <c:pt idx="475">
                  <c:v>870</c:v>
                </c:pt>
                <c:pt idx="476">
                  <c:v>799</c:v>
                </c:pt>
                <c:pt idx="477">
                  <c:v>747</c:v>
                </c:pt>
                <c:pt idx="478">
                  <c:v>683</c:v>
                </c:pt>
                <c:pt idx="479">
                  <c:v>646</c:v>
                </c:pt>
                <c:pt idx="480">
                  <c:v>612</c:v>
                </c:pt>
                <c:pt idx="481">
                  <c:v>598</c:v>
                </c:pt>
                <c:pt idx="482">
                  <c:v>606</c:v>
                </c:pt>
                <c:pt idx="483">
                  <c:v>563</c:v>
                </c:pt>
                <c:pt idx="484">
                  <c:v>524</c:v>
                </c:pt>
                <c:pt idx="485">
                  <c:v>496</c:v>
                </c:pt>
                <c:pt idx="486">
                  <c:v>477</c:v>
                </c:pt>
                <c:pt idx="487">
                  <c:v>448</c:v>
                </c:pt>
                <c:pt idx="488">
                  <c:v>437</c:v>
                </c:pt>
                <c:pt idx="489">
                  <c:v>447</c:v>
                </c:pt>
                <c:pt idx="490">
                  <c:v>419</c:v>
                </c:pt>
                <c:pt idx="491">
                  <c:v>410</c:v>
                </c:pt>
                <c:pt idx="492">
                  <c:v>410</c:v>
                </c:pt>
                <c:pt idx="493">
                  <c:v>412</c:v>
                </c:pt>
                <c:pt idx="494">
                  <c:v>407</c:v>
                </c:pt>
                <c:pt idx="495">
                  <c:v>404</c:v>
                </c:pt>
                <c:pt idx="496">
                  <c:v>419</c:v>
                </c:pt>
                <c:pt idx="497">
                  <c:v>401</c:v>
                </c:pt>
                <c:pt idx="498">
                  <c:v>392</c:v>
                </c:pt>
                <c:pt idx="499">
                  <c:v>386</c:v>
                </c:pt>
                <c:pt idx="500">
                  <c:v>386</c:v>
                </c:pt>
                <c:pt idx="501">
                  <c:v>386</c:v>
                </c:pt>
                <c:pt idx="502">
                  <c:v>398</c:v>
                </c:pt>
                <c:pt idx="503">
                  <c:v>457</c:v>
                </c:pt>
                <c:pt idx="504">
                  <c:v>477</c:v>
                </c:pt>
                <c:pt idx="505">
                  <c:v>506</c:v>
                </c:pt>
                <c:pt idx="506">
                  <c:v>561</c:v>
                </c:pt>
                <c:pt idx="507">
                  <c:v>616</c:v>
                </c:pt>
                <c:pt idx="508">
                  <c:v>629</c:v>
                </c:pt>
                <c:pt idx="509">
                  <c:v>633</c:v>
                </c:pt>
                <c:pt idx="510">
                  <c:v>728</c:v>
                </c:pt>
                <c:pt idx="511">
                  <c:v>806</c:v>
                </c:pt>
                <c:pt idx="512">
                  <c:v>914</c:v>
                </c:pt>
                <c:pt idx="513">
                  <c:v>1000</c:v>
                </c:pt>
                <c:pt idx="514">
                  <c:v>1085</c:v>
                </c:pt>
                <c:pt idx="515">
                  <c:v>1076</c:v>
                </c:pt>
                <c:pt idx="516">
                  <c:v>1053</c:v>
                </c:pt>
                <c:pt idx="517">
                  <c:v>1094</c:v>
                </c:pt>
                <c:pt idx="518">
                  <c:v>1156</c:v>
                </c:pt>
                <c:pt idx="519">
                  <c:v>1244</c:v>
                </c:pt>
                <c:pt idx="520">
                  <c:v>1240</c:v>
                </c:pt>
                <c:pt idx="521">
                  <c:v>11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5</c:v>
                </c:pt>
                <c:pt idx="51">
                  <c:v>3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6</c:v>
                </c:pt>
                <c:pt idx="58">
                  <c:v>9</c:v>
                </c:pt>
                <c:pt idx="59">
                  <c:v>17</c:v>
                </c:pt>
                <c:pt idx="60">
                  <c:v>20</c:v>
                </c:pt>
                <c:pt idx="61">
                  <c:v>20</c:v>
                </c:pt>
                <c:pt idx="62">
                  <c:v>23</c:v>
                </c:pt>
                <c:pt idx="63">
                  <c:v>31</c:v>
                </c:pt>
                <c:pt idx="64">
                  <c:v>31</c:v>
                </c:pt>
                <c:pt idx="65">
                  <c:v>41</c:v>
                </c:pt>
                <c:pt idx="66">
                  <c:v>47</c:v>
                </c:pt>
                <c:pt idx="67">
                  <c:v>36</c:v>
                </c:pt>
                <c:pt idx="68">
                  <c:v>54</c:v>
                </c:pt>
                <c:pt idx="69">
                  <c:v>62</c:v>
                </c:pt>
                <c:pt idx="70">
                  <c:v>80</c:v>
                </c:pt>
                <c:pt idx="71">
                  <c:v>67</c:v>
                </c:pt>
                <c:pt idx="72">
                  <c:v>85</c:v>
                </c:pt>
                <c:pt idx="73">
                  <c:v>85</c:v>
                </c:pt>
                <c:pt idx="74">
                  <c:v>102</c:v>
                </c:pt>
                <c:pt idx="75">
                  <c:v>111</c:v>
                </c:pt>
                <c:pt idx="76">
                  <c:v>114</c:v>
                </c:pt>
                <c:pt idx="77">
                  <c:v>128</c:v>
                </c:pt>
                <c:pt idx="78">
                  <c:v>111</c:v>
                </c:pt>
                <c:pt idx="79">
                  <c:v>132</c:v>
                </c:pt>
                <c:pt idx="80">
                  <c:v>141</c:v>
                </c:pt>
                <c:pt idx="81">
                  <c:v>156</c:v>
                </c:pt>
                <c:pt idx="82">
                  <c:v>185</c:v>
                </c:pt>
                <c:pt idx="83">
                  <c:v>161</c:v>
                </c:pt>
                <c:pt idx="84">
                  <c:v>198</c:v>
                </c:pt>
                <c:pt idx="85">
                  <c:v>199</c:v>
                </c:pt>
                <c:pt idx="86">
                  <c:v>178</c:v>
                </c:pt>
                <c:pt idx="87">
                  <c:v>179</c:v>
                </c:pt>
                <c:pt idx="88">
                  <c:v>153</c:v>
                </c:pt>
                <c:pt idx="89">
                  <c:v>104</c:v>
                </c:pt>
                <c:pt idx="90">
                  <c:v>91</c:v>
                </c:pt>
                <c:pt idx="91">
                  <c:v>63</c:v>
                </c:pt>
                <c:pt idx="92">
                  <c:v>61</c:v>
                </c:pt>
                <c:pt idx="93">
                  <c:v>50</c:v>
                </c:pt>
                <c:pt idx="94">
                  <c:v>28</c:v>
                </c:pt>
                <c:pt idx="95">
                  <c:v>22</c:v>
                </c:pt>
                <c:pt idx="96">
                  <c:v>9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1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6</c:v>
                </c:pt>
                <c:pt idx="5">
                  <c:v>10</c:v>
                </c:pt>
                <c:pt idx="6">
                  <c:v>4</c:v>
                </c:pt>
                <c:pt idx="7">
                  <c:v>16</c:v>
                </c:pt>
                <c:pt idx="8">
                  <c:v>14</c:v>
                </c:pt>
                <c:pt idx="9">
                  <c:v>19</c:v>
                </c:pt>
                <c:pt idx="10">
                  <c:v>19</c:v>
                </c:pt>
                <c:pt idx="11">
                  <c:v>14</c:v>
                </c:pt>
                <c:pt idx="12">
                  <c:v>31</c:v>
                </c:pt>
                <c:pt idx="13">
                  <c:v>18</c:v>
                </c:pt>
                <c:pt idx="14">
                  <c:v>24</c:v>
                </c:pt>
                <c:pt idx="15">
                  <c:v>23</c:v>
                </c:pt>
                <c:pt idx="16">
                  <c:v>34</c:v>
                </c:pt>
                <c:pt idx="17">
                  <c:v>27</c:v>
                </c:pt>
                <c:pt idx="18">
                  <c:v>24</c:v>
                </c:pt>
                <c:pt idx="19">
                  <c:v>36</c:v>
                </c:pt>
                <c:pt idx="20">
                  <c:v>46</c:v>
                </c:pt>
                <c:pt idx="21">
                  <c:v>54</c:v>
                </c:pt>
                <c:pt idx="22">
                  <c:v>64</c:v>
                </c:pt>
                <c:pt idx="23">
                  <c:v>57</c:v>
                </c:pt>
                <c:pt idx="24">
                  <c:v>75</c:v>
                </c:pt>
                <c:pt idx="25">
                  <c:v>66</c:v>
                </c:pt>
                <c:pt idx="26">
                  <c:v>75</c:v>
                </c:pt>
                <c:pt idx="27">
                  <c:v>80</c:v>
                </c:pt>
                <c:pt idx="28">
                  <c:v>83</c:v>
                </c:pt>
                <c:pt idx="29">
                  <c:v>84</c:v>
                </c:pt>
                <c:pt idx="30">
                  <c:v>97</c:v>
                </c:pt>
                <c:pt idx="31">
                  <c:v>89</c:v>
                </c:pt>
                <c:pt idx="32">
                  <c:v>80</c:v>
                </c:pt>
                <c:pt idx="33">
                  <c:v>93</c:v>
                </c:pt>
                <c:pt idx="34">
                  <c:v>125</c:v>
                </c:pt>
                <c:pt idx="35">
                  <c:v>106</c:v>
                </c:pt>
                <c:pt idx="36">
                  <c:v>129</c:v>
                </c:pt>
                <c:pt idx="37">
                  <c:v>147</c:v>
                </c:pt>
                <c:pt idx="38">
                  <c:v>129</c:v>
                </c:pt>
                <c:pt idx="39">
                  <c:v>137</c:v>
                </c:pt>
                <c:pt idx="40">
                  <c:v>156</c:v>
                </c:pt>
                <c:pt idx="41">
                  <c:v>152</c:v>
                </c:pt>
                <c:pt idx="42">
                  <c:v>155</c:v>
                </c:pt>
                <c:pt idx="43">
                  <c:v>153</c:v>
                </c:pt>
                <c:pt idx="44">
                  <c:v>137</c:v>
                </c:pt>
                <c:pt idx="45">
                  <c:v>139</c:v>
                </c:pt>
                <c:pt idx="46">
                  <c:v>145</c:v>
                </c:pt>
                <c:pt idx="47">
                  <c:v>167</c:v>
                </c:pt>
                <c:pt idx="48">
                  <c:v>131</c:v>
                </c:pt>
                <c:pt idx="49">
                  <c:v>147</c:v>
                </c:pt>
                <c:pt idx="50">
                  <c:v>166</c:v>
                </c:pt>
                <c:pt idx="51">
                  <c:v>189</c:v>
                </c:pt>
                <c:pt idx="52">
                  <c:v>172</c:v>
                </c:pt>
                <c:pt idx="53">
                  <c:v>176</c:v>
                </c:pt>
                <c:pt idx="54">
                  <c:v>149</c:v>
                </c:pt>
                <c:pt idx="55">
                  <c:v>189</c:v>
                </c:pt>
                <c:pt idx="56">
                  <c:v>210</c:v>
                </c:pt>
                <c:pt idx="57">
                  <c:v>215</c:v>
                </c:pt>
                <c:pt idx="58">
                  <c:v>227</c:v>
                </c:pt>
                <c:pt idx="59">
                  <c:v>263</c:v>
                </c:pt>
                <c:pt idx="60">
                  <c:v>304</c:v>
                </c:pt>
                <c:pt idx="61">
                  <c:v>290</c:v>
                </c:pt>
                <c:pt idx="62">
                  <c:v>317</c:v>
                </c:pt>
                <c:pt idx="63">
                  <c:v>328</c:v>
                </c:pt>
                <c:pt idx="64">
                  <c:v>351</c:v>
                </c:pt>
                <c:pt idx="65">
                  <c:v>432</c:v>
                </c:pt>
                <c:pt idx="66">
                  <c:v>447</c:v>
                </c:pt>
                <c:pt idx="67">
                  <c:v>456</c:v>
                </c:pt>
                <c:pt idx="68">
                  <c:v>554</c:v>
                </c:pt>
                <c:pt idx="69">
                  <c:v>592</c:v>
                </c:pt>
                <c:pt idx="70">
                  <c:v>623</c:v>
                </c:pt>
                <c:pt idx="71">
                  <c:v>578</c:v>
                </c:pt>
                <c:pt idx="72">
                  <c:v>733</c:v>
                </c:pt>
                <c:pt idx="73">
                  <c:v>748</c:v>
                </c:pt>
                <c:pt idx="74">
                  <c:v>774</c:v>
                </c:pt>
                <c:pt idx="75">
                  <c:v>840</c:v>
                </c:pt>
                <c:pt idx="76">
                  <c:v>902</c:v>
                </c:pt>
                <c:pt idx="77">
                  <c:v>901</c:v>
                </c:pt>
                <c:pt idx="78">
                  <c:v>922</c:v>
                </c:pt>
                <c:pt idx="79">
                  <c:v>1033</c:v>
                </c:pt>
                <c:pt idx="80">
                  <c:v>993</c:v>
                </c:pt>
                <c:pt idx="81">
                  <c:v>1152</c:v>
                </c:pt>
                <c:pt idx="82">
                  <c:v>1183</c:v>
                </c:pt>
                <c:pt idx="83">
                  <c:v>1209</c:v>
                </c:pt>
                <c:pt idx="84">
                  <c:v>1286</c:v>
                </c:pt>
                <c:pt idx="85">
                  <c:v>1223</c:v>
                </c:pt>
                <c:pt idx="86">
                  <c:v>1199</c:v>
                </c:pt>
                <c:pt idx="87">
                  <c:v>1031</c:v>
                </c:pt>
                <c:pt idx="88">
                  <c:v>904</c:v>
                </c:pt>
                <c:pt idx="89">
                  <c:v>742</c:v>
                </c:pt>
                <c:pt idx="90">
                  <c:v>534</c:v>
                </c:pt>
                <c:pt idx="91">
                  <c:v>415</c:v>
                </c:pt>
                <c:pt idx="92">
                  <c:v>316</c:v>
                </c:pt>
                <c:pt idx="93">
                  <c:v>234</c:v>
                </c:pt>
                <c:pt idx="94">
                  <c:v>150</c:v>
                </c:pt>
                <c:pt idx="95">
                  <c:v>93</c:v>
                </c:pt>
                <c:pt idx="96">
                  <c:v>44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095798771781857E-2"/>
          <c:y val="2.8705141534522347E-2"/>
          <c:w val="0.91847729224387953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23</c:f>
              <c:numCache>
                <c:formatCode>m/d/yyyy</c:formatCode>
                <c:ptCount val="5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</c:numCache>
            </c:numRef>
          </c:cat>
          <c:val>
            <c:numRef>
              <c:f>Sheet1!$B$2:$B$523</c:f>
              <c:numCache>
                <c:formatCode>#\ ##0_ ;\-#\ ##0\ </c:formatCode>
                <c:ptCount val="522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4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2</c:v>
                </c:pt>
                <c:pt idx="32">
                  <c:v>36</c:v>
                </c:pt>
                <c:pt idx="33">
                  <c:v>54</c:v>
                </c:pt>
                <c:pt idx="34">
                  <c:v>167</c:v>
                </c:pt>
                <c:pt idx="35">
                  <c:v>82</c:v>
                </c:pt>
                <c:pt idx="36">
                  <c:v>45</c:v>
                </c:pt>
                <c:pt idx="37">
                  <c:v>78</c:v>
                </c:pt>
                <c:pt idx="38">
                  <c:v>139</c:v>
                </c:pt>
                <c:pt idx="39">
                  <c:v>30</c:v>
                </c:pt>
                <c:pt idx="40">
                  <c:v>13</c:v>
                </c:pt>
                <c:pt idx="41">
                  <c:v>138</c:v>
                </c:pt>
                <c:pt idx="42">
                  <c:v>224</c:v>
                </c:pt>
                <c:pt idx="43">
                  <c:v>181</c:v>
                </c:pt>
                <c:pt idx="44">
                  <c:v>196</c:v>
                </c:pt>
                <c:pt idx="45">
                  <c:v>205</c:v>
                </c:pt>
                <c:pt idx="46">
                  <c:v>155</c:v>
                </c:pt>
                <c:pt idx="47">
                  <c:v>41</c:v>
                </c:pt>
                <c:pt idx="48">
                  <c:v>242</c:v>
                </c:pt>
                <c:pt idx="49">
                  <c:v>200</c:v>
                </c:pt>
                <c:pt idx="50">
                  <c:v>326</c:v>
                </c:pt>
                <c:pt idx="51">
                  <c:v>228</c:v>
                </c:pt>
                <c:pt idx="52">
                  <c:v>421</c:v>
                </c:pt>
                <c:pt idx="53">
                  <c:v>227</c:v>
                </c:pt>
                <c:pt idx="54">
                  <c:v>195</c:v>
                </c:pt>
                <c:pt idx="55">
                  <c:v>388</c:v>
                </c:pt>
                <c:pt idx="56">
                  <c:v>524</c:v>
                </c:pt>
                <c:pt idx="57">
                  <c:v>261</c:v>
                </c:pt>
                <c:pt idx="58">
                  <c:v>540</c:v>
                </c:pt>
                <c:pt idx="59">
                  <c:v>588</c:v>
                </c:pt>
                <c:pt idx="60">
                  <c:v>337</c:v>
                </c:pt>
                <c:pt idx="61">
                  <c:v>213</c:v>
                </c:pt>
                <c:pt idx="62">
                  <c:v>333</c:v>
                </c:pt>
                <c:pt idx="63">
                  <c:v>333</c:v>
                </c:pt>
                <c:pt idx="64">
                  <c:v>424</c:v>
                </c:pt>
                <c:pt idx="65">
                  <c:v>534</c:v>
                </c:pt>
                <c:pt idx="66">
                  <c:v>490</c:v>
                </c:pt>
                <c:pt idx="67">
                  <c:v>215</c:v>
                </c:pt>
                <c:pt idx="68">
                  <c:v>78</c:v>
                </c:pt>
                <c:pt idx="69">
                  <c:v>205</c:v>
                </c:pt>
                <c:pt idx="70">
                  <c:v>385</c:v>
                </c:pt>
                <c:pt idx="71">
                  <c:v>676</c:v>
                </c:pt>
                <c:pt idx="72">
                  <c:v>499</c:v>
                </c:pt>
                <c:pt idx="73">
                  <c:v>482</c:v>
                </c:pt>
                <c:pt idx="74">
                  <c:v>180</c:v>
                </c:pt>
                <c:pt idx="75">
                  <c:v>168</c:v>
                </c:pt>
                <c:pt idx="76">
                  <c:v>385</c:v>
                </c:pt>
                <c:pt idx="77">
                  <c:v>139</c:v>
                </c:pt>
                <c:pt idx="78">
                  <c:v>268</c:v>
                </c:pt>
                <c:pt idx="79">
                  <c:v>269</c:v>
                </c:pt>
                <c:pt idx="80">
                  <c:v>241</c:v>
                </c:pt>
                <c:pt idx="81">
                  <c:v>95</c:v>
                </c:pt>
                <c:pt idx="82">
                  <c:v>91</c:v>
                </c:pt>
                <c:pt idx="83">
                  <c:v>382</c:v>
                </c:pt>
                <c:pt idx="84">
                  <c:v>200</c:v>
                </c:pt>
                <c:pt idx="85">
                  <c:v>127</c:v>
                </c:pt>
                <c:pt idx="86">
                  <c:v>197</c:v>
                </c:pt>
                <c:pt idx="87">
                  <c:v>139</c:v>
                </c:pt>
                <c:pt idx="88">
                  <c:v>78</c:v>
                </c:pt>
                <c:pt idx="89">
                  <c:v>28</c:v>
                </c:pt>
                <c:pt idx="90">
                  <c:v>213</c:v>
                </c:pt>
                <c:pt idx="91">
                  <c:v>124</c:v>
                </c:pt>
                <c:pt idx="92">
                  <c:v>134</c:v>
                </c:pt>
                <c:pt idx="93">
                  <c:v>129</c:v>
                </c:pt>
                <c:pt idx="94">
                  <c:v>143</c:v>
                </c:pt>
                <c:pt idx="95">
                  <c:v>90</c:v>
                </c:pt>
                <c:pt idx="96">
                  <c:v>20</c:v>
                </c:pt>
                <c:pt idx="97">
                  <c:v>143</c:v>
                </c:pt>
                <c:pt idx="98">
                  <c:v>89</c:v>
                </c:pt>
                <c:pt idx="99">
                  <c:v>141</c:v>
                </c:pt>
                <c:pt idx="100">
                  <c:v>84</c:v>
                </c:pt>
                <c:pt idx="101">
                  <c:v>231</c:v>
                </c:pt>
                <c:pt idx="102">
                  <c:v>67</c:v>
                </c:pt>
                <c:pt idx="103">
                  <c:v>50</c:v>
                </c:pt>
                <c:pt idx="104">
                  <c:v>149</c:v>
                </c:pt>
                <c:pt idx="105">
                  <c:v>133</c:v>
                </c:pt>
                <c:pt idx="106">
                  <c:v>100</c:v>
                </c:pt>
                <c:pt idx="107">
                  <c:v>68</c:v>
                </c:pt>
                <c:pt idx="108">
                  <c:v>223</c:v>
                </c:pt>
                <c:pt idx="109">
                  <c:v>61</c:v>
                </c:pt>
                <c:pt idx="110">
                  <c:v>21</c:v>
                </c:pt>
                <c:pt idx="111">
                  <c:v>180</c:v>
                </c:pt>
                <c:pt idx="112">
                  <c:v>177</c:v>
                </c:pt>
                <c:pt idx="113">
                  <c:v>122</c:v>
                </c:pt>
                <c:pt idx="114">
                  <c:v>18</c:v>
                </c:pt>
                <c:pt idx="115">
                  <c:v>71</c:v>
                </c:pt>
                <c:pt idx="116">
                  <c:v>78</c:v>
                </c:pt>
                <c:pt idx="117">
                  <c:v>98</c:v>
                </c:pt>
                <c:pt idx="118">
                  <c:v>166</c:v>
                </c:pt>
                <c:pt idx="119">
                  <c:v>186</c:v>
                </c:pt>
                <c:pt idx="120">
                  <c:v>145</c:v>
                </c:pt>
                <c:pt idx="121">
                  <c:v>135</c:v>
                </c:pt>
                <c:pt idx="122">
                  <c:v>65</c:v>
                </c:pt>
                <c:pt idx="123">
                  <c:v>60</c:v>
                </c:pt>
                <c:pt idx="124">
                  <c:v>42</c:v>
                </c:pt>
                <c:pt idx="125">
                  <c:v>269</c:v>
                </c:pt>
                <c:pt idx="126">
                  <c:v>154</c:v>
                </c:pt>
                <c:pt idx="127">
                  <c:v>162</c:v>
                </c:pt>
                <c:pt idx="128">
                  <c:v>232</c:v>
                </c:pt>
                <c:pt idx="129">
                  <c:v>187</c:v>
                </c:pt>
                <c:pt idx="130">
                  <c:v>62</c:v>
                </c:pt>
                <c:pt idx="131">
                  <c:v>31</c:v>
                </c:pt>
                <c:pt idx="132">
                  <c:v>241</c:v>
                </c:pt>
                <c:pt idx="133">
                  <c:v>127</c:v>
                </c:pt>
                <c:pt idx="134">
                  <c:v>175</c:v>
                </c:pt>
                <c:pt idx="135">
                  <c:v>97</c:v>
                </c:pt>
                <c:pt idx="136">
                  <c:v>86</c:v>
                </c:pt>
                <c:pt idx="137">
                  <c:v>35</c:v>
                </c:pt>
                <c:pt idx="138">
                  <c:v>45</c:v>
                </c:pt>
                <c:pt idx="139">
                  <c:v>163</c:v>
                </c:pt>
                <c:pt idx="140">
                  <c:v>81</c:v>
                </c:pt>
                <c:pt idx="141">
                  <c:v>147</c:v>
                </c:pt>
                <c:pt idx="142">
                  <c:v>106</c:v>
                </c:pt>
                <c:pt idx="143">
                  <c:v>116</c:v>
                </c:pt>
                <c:pt idx="144">
                  <c:v>53</c:v>
                </c:pt>
                <c:pt idx="145">
                  <c:v>26</c:v>
                </c:pt>
                <c:pt idx="146">
                  <c:v>84</c:v>
                </c:pt>
                <c:pt idx="147">
                  <c:v>41</c:v>
                </c:pt>
                <c:pt idx="148">
                  <c:v>95</c:v>
                </c:pt>
                <c:pt idx="149">
                  <c:v>67</c:v>
                </c:pt>
                <c:pt idx="150">
                  <c:v>37</c:v>
                </c:pt>
                <c:pt idx="151">
                  <c:v>49</c:v>
                </c:pt>
                <c:pt idx="152">
                  <c:v>10</c:v>
                </c:pt>
                <c:pt idx="153">
                  <c:v>108</c:v>
                </c:pt>
                <c:pt idx="154">
                  <c:v>95</c:v>
                </c:pt>
                <c:pt idx="155">
                  <c:v>102</c:v>
                </c:pt>
                <c:pt idx="156">
                  <c:v>83</c:v>
                </c:pt>
                <c:pt idx="157">
                  <c:v>84</c:v>
                </c:pt>
                <c:pt idx="158">
                  <c:v>44</c:v>
                </c:pt>
                <c:pt idx="159">
                  <c:v>16</c:v>
                </c:pt>
                <c:pt idx="160">
                  <c:v>65</c:v>
                </c:pt>
                <c:pt idx="161">
                  <c:v>66</c:v>
                </c:pt>
                <c:pt idx="162">
                  <c:v>67</c:v>
                </c:pt>
                <c:pt idx="163">
                  <c:v>65</c:v>
                </c:pt>
                <c:pt idx="164">
                  <c:v>53</c:v>
                </c:pt>
                <c:pt idx="165">
                  <c:v>8</c:v>
                </c:pt>
                <c:pt idx="166">
                  <c:v>13</c:v>
                </c:pt>
                <c:pt idx="167">
                  <c:v>37</c:v>
                </c:pt>
                <c:pt idx="168">
                  <c:v>17</c:v>
                </c:pt>
                <c:pt idx="169">
                  <c:v>30</c:v>
                </c:pt>
                <c:pt idx="170">
                  <c:v>28</c:v>
                </c:pt>
                <c:pt idx="171">
                  <c:v>28</c:v>
                </c:pt>
                <c:pt idx="172">
                  <c:v>18</c:v>
                </c:pt>
                <c:pt idx="173">
                  <c:v>5</c:v>
                </c:pt>
                <c:pt idx="174">
                  <c:v>89</c:v>
                </c:pt>
                <c:pt idx="175">
                  <c:v>36</c:v>
                </c:pt>
                <c:pt idx="176">
                  <c:v>34</c:v>
                </c:pt>
                <c:pt idx="177">
                  <c:v>46</c:v>
                </c:pt>
                <c:pt idx="178">
                  <c:v>47</c:v>
                </c:pt>
                <c:pt idx="179">
                  <c:v>10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11</c:v>
                </c:pt>
                <c:pt idx="185">
                  <c:v>24</c:v>
                </c:pt>
                <c:pt idx="186">
                  <c:v>5</c:v>
                </c:pt>
                <c:pt idx="187">
                  <c:v>5</c:v>
                </c:pt>
                <c:pt idx="188">
                  <c:v>27</c:v>
                </c:pt>
                <c:pt idx="189">
                  <c:v>80</c:v>
                </c:pt>
                <c:pt idx="190">
                  <c:v>56</c:v>
                </c:pt>
                <c:pt idx="191">
                  <c:v>13</c:v>
                </c:pt>
                <c:pt idx="192">
                  <c:v>26</c:v>
                </c:pt>
                <c:pt idx="193">
                  <c:v>9</c:v>
                </c:pt>
                <c:pt idx="194">
                  <c:v>7</c:v>
                </c:pt>
                <c:pt idx="195">
                  <c:v>29</c:v>
                </c:pt>
                <c:pt idx="196">
                  <c:v>21</c:v>
                </c:pt>
                <c:pt idx="197">
                  <c:v>7</c:v>
                </c:pt>
                <c:pt idx="198">
                  <c:v>37</c:v>
                </c:pt>
                <c:pt idx="199">
                  <c:v>18</c:v>
                </c:pt>
                <c:pt idx="200">
                  <c:v>9</c:v>
                </c:pt>
                <c:pt idx="201">
                  <c:v>4</c:v>
                </c:pt>
                <c:pt idx="202">
                  <c:v>13</c:v>
                </c:pt>
                <c:pt idx="203">
                  <c:v>30</c:v>
                </c:pt>
                <c:pt idx="204">
                  <c:v>20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1</c:v>
                </c:pt>
                <c:pt idx="210">
                  <c:v>11</c:v>
                </c:pt>
                <c:pt idx="211">
                  <c:v>11</c:v>
                </c:pt>
                <c:pt idx="212">
                  <c:v>9</c:v>
                </c:pt>
                <c:pt idx="213">
                  <c:v>4</c:v>
                </c:pt>
                <c:pt idx="214">
                  <c:v>4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8</c:v>
                </c:pt>
                <c:pt idx="219">
                  <c:v>1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1</c:v>
                </c:pt>
                <c:pt idx="224">
                  <c:v>2</c:v>
                </c:pt>
                <c:pt idx="225">
                  <c:v>1</c:v>
                </c:pt>
                <c:pt idx="226">
                  <c:v>4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5</c:v>
                </c:pt>
                <c:pt idx="231">
                  <c:v>4</c:v>
                </c:pt>
                <c:pt idx="232">
                  <c:v>3</c:v>
                </c:pt>
                <c:pt idx="233">
                  <c:v>9</c:v>
                </c:pt>
                <c:pt idx="234">
                  <c:v>6</c:v>
                </c:pt>
                <c:pt idx="235">
                  <c:v>1</c:v>
                </c:pt>
                <c:pt idx="236">
                  <c:v>0</c:v>
                </c:pt>
                <c:pt idx="237">
                  <c:v>1</c:v>
                </c:pt>
                <c:pt idx="238">
                  <c:v>3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3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2</c:v>
                </c:pt>
                <c:pt idx="255">
                  <c:v>3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0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5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4</c:v>
                </c:pt>
                <c:pt idx="428">
                  <c:v>16</c:v>
                </c:pt>
                <c:pt idx="429">
                  <c:v>52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29</c:v>
                </c:pt>
                <c:pt idx="434">
                  <c:v>29</c:v>
                </c:pt>
                <c:pt idx="435">
                  <c:v>15</c:v>
                </c:pt>
                <c:pt idx="436">
                  <c:v>18</c:v>
                </c:pt>
                <c:pt idx="437">
                  <c:v>17</c:v>
                </c:pt>
                <c:pt idx="438">
                  <c:v>13</c:v>
                </c:pt>
                <c:pt idx="439">
                  <c:v>14</c:v>
                </c:pt>
                <c:pt idx="440">
                  <c:v>43</c:v>
                </c:pt>
                <c:pt idx="441">
                  <c:v>32</c:v>
                </c:pt>
                <c:pt idx="442">
                  <c:v>25</c:v>
                </c:pt>
                <c:pt idx="443">
                  <c:v>55</c:v>
                </c:pt>
                <c:pt idx="444">
                  <c:v>85</c:v>
                </c:pt>
                <c:pt idx="445">
                  <c:v>26</c:v>
                </c:pt>
                <c:pt idx="446">
                  <c:v>9</c:v>
                </c:pt>
                <c:pt idx="447">
                  <c:v>48</c:v>
                </c:pt>
                <c:pt idx="448">
                  <c:v>23</c:v>
                </c:pt>
                <c:pt idx="449">
                  <c:v>42</c:v>
                </c:pt>
                <c:pt idx="450">
                  <c:v>29</c:v>
                </c:pt>
                <c:pt idx="451">
                  <c:v>52</c:v>
                </c:pt>
                <c:pt idx="452">
                  <c:v>5</c:v>
                </c:pt>
                <c:pt idx="453">
                  <c:v>7</c:v>
                </c:pt>
                <c:pt idx="454">
                  <c:v>44</c:v>
                </c:pt>
                <c:pt idx="455">
                  <c:v>14</c:v>
                </c:pt>
                <c:pt idx="456">
                  <c:v>30</c:v>
                </c:pt>
                <c:pt idx="457">
                  <c:v>31</c:v>
                </c:pt>
                <c:pt idx="458">
                  <c:v>13</c:v>
                </c:pt>
                <c:pt idx="459">
                  <c:v>38</c:v>
                </c:pt>
                <c:pt idx="460">
                  <c:v>7</c:v>
                </c:pt>
                <c:pt idx="461">
                  <c:v>30</c:v>
                </c:pt>
                <c:pt idx="462">
                  <c:v>22</c:v>
                </c:pt>
                <c:pt idx="463">
                  <c:v>18</c:v>
                </c:pt>
                <c:pt idx="464">
                  <c:v>31</c:v>
                </c:pt>
                <c:pt idx="465">
                  <c:v>29</c:v>
                </c:pt>
                <c:pt idx="466">
                  <c:v>6</c:v>
                </c:pt>
                <c:pt idx="467">
                  <c:v>0</c:v>
                </c:pt>
                <c:pt idx="468">
                  <c:v>16</c:v>
                </c:pt>
                <c:pt idx="469">
                  <c:v>27</c:v>
                </c:pt>
                <c:pt idx="470">
                  <c:v>15</c:v>
                </c:pt>
                <c:pt idx="471">
                  <c:v>7</c:v>
                </c:pt>
                <c:pt idx="472">
                  <c:v>12</c:v>
                </c:pt>
                <c:pt idx="473">
                  <c:v>2</c:v>
                </c:pt>
                <c:pt idx="474">
                  <c:v>3</c:v>
                </c:pt>
                <c:pt idx="475">
                  <c:v>14</c:v>
                </c:pt>
                <c:pt idx="476">
                  <c:v>8</c:v>
                </c:pt>
                <c:pt idx="477">
                  <c:v>3</c:v>
                </c:pt>
                <c:pt idx="478">
                  <c:v>5</c:v>
                </c:pt>
                <c:pt idx="479">
                  <c:v>0</c:v>
                </c:pt>
                <c:pt idx="480">
                  <c:v>5</c:v>
                </c:pt>
                <c:pt idx="481">
                  <c:v>0</c:v>
                </c:pt>
                <c:pt idx="482">
                  <c:v>10</c:v>
                </c:pt>
                <c:pt idx="483">
                  <c:v>6</c:v>
                </c:pt>
                <c:pt idx="484">
                  <c:v>5</c:v>
                </c:pt>
                <c:pt idx="485">
                  <c:v>2</c:v>
                </c:pt>
                <c:pt idx="486">
                  <c:v>10</c:v>
                </c:pt>
                <c:pt idx="487">
                  <c:v>2</c:v>
                </c:pt>
                <c:pt idx="488">
                  <c:v>0</c:v>
                </c:pt>
                <c:pt idx="489">
                  <c:v>4</c:v>
                </c:pt>
                <c:pt idx="490">
                  <c:v>5</c:v>
                </c:pt>
                <c:pt idx="491">
                  <c:v>7</c:v>
                </c:pt>
                <c:pt idx="492">
                  <c:v>6</c:v>
                </c:pt>
                <c:pt idx="493">
                  <c:v>6</c:v>
                </c:pt>
                <c:pt idx="494">
                  <c:v>1</c:v>
                </c:pt>
                <c:pt idx="495">
                  <c:v>2</c:v>
                </c:pt>
                <c:pt idx="496">
                  <c:v>1</c:v>
                </c:pt>
                <c:pt idx="497">
                  <c:v>8</c:v>
                </c:pt>
                <c:pt idx="498">
                  <c:v>3</c:v>
                </c:pt>
                <c:pt idx="499">
                  <c:v>4</c:v>
                </c:pt>
                <c:pt idx="500">
                  <c:v>8</c:v>
                </c:pt>
                <c:pt idx="501">
                  <c:v>1</c:v>
                </c:pt>
                <c:pt idx="502">
                  <c:v>4</c:v>
                </c:pt>
                <c:pt idx="503">
                  <c:v>18</c:v>
                </c:pt>
                <c:pt idx="504">
                  <c:v>11</c:v>
                </c:pt>
                <c:pt idx="505">
                  <c:v>11</c:v>
                </c:pt>
                <c:pt idx="506">
                  <c:v>20</c:v>
                </c:pt>
                <c:pt idx="507">
                  <c:v>15</c:v>
                </c:pt>
                <c:pt idx="508">
                  <c:v>32</c:v>
                </c:pt>
                <c:pt idx="509">
                  <c:v>6</c:v>
                </c:pt>
                <c:pt idx="510">
                  <c:v>44</c:v>
                </c:pt>
                <c:pt idx="511">
                  <c:v>41</c:v>
                </c:pt>
                <c:pt idx="512">
                  <c:v>45</c:v>
                </c:pt>
                <c:pt idx="513">
                  <c:v>20</c:v>
                </c:pt>
                <c:pt idx="514">
                  <c:v>58</c:v>
                </c:pt>
                <c:pt idx="515">
                  <c:v>5</c:v>
                </c:pt>
                <c:pt idx="516">
                  <c:v>3</c:v>
                </c:pt>
                <c:pt idx="517">
                  <c:v>32</c:v>
                </c:pt>
                <c:pt idx="518">
                  <c:v>64</c:v>
                </c:pt>
                <c:pt idx="519">
                  <c:v>47</c:v>
                </c:pt>
                <c:pt idx="520">
                  <c:v>30</c:v>
                </c:pt>
                <c:pt idx="52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23</c:f>
              <c:numCache>
                <c:formatCode>m/d/yyyy</c:formatCode>
                <c:ptCount val="5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</c:numCache>
            </c:numRef>
          </c:cat>
          <c:val>
            <c:numRef>
              <c:f>Sheet1!$B$2:$B$523</c:f>
              <c:numCache>
                <c:formatCode>#\ ##0_ ;\-#\ ##0\ </c:formatCode>
                <c:ptCount val="522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4</c:v>
                </c:pt>
                <c:pt idx="28">
                  <c:v>25</c:v>
                </c:pt>
                <c:pt idx="29">
                  <c:v>10</c:v>
                </c:pt>
                <c:pt idx="30">
                  <c:v>30</c:v>
                </c:pt>
                <c:pt idx="31">
                  <c:v>96</c:v>
                </c:pt>
                <c:pt idx="32">
                  <c:v>31</c:v>
                </c:pt>
                <c:pt idx="33">
                  <c:v>31</c:v>
                </c:pt>
                <c:pt idx="34">
                  <c:v>93</c:v>
                </c:pt>
                <c:pt idx="35">
                  <c:v>47</c:v>
                </c:pt>
                <c:pt idx="36">
                  <c:v>43</c:v>
                </c:pt>
                <c:pt idx="37">
                  <c:v>86</c:v>
                </c:pt>
                <c:pt idx="38">
                  <c:v>89</c:v>
                </c:pt>
                <c:pt idx="39">
                  <c:v>51</c:v>
                </c:pt>
                <c:pt idx="40">
                  <c:v>25</c:v>
                </c:pt>
                <c:pt idx="41">
                  <c:v>170</c:v>
                </c:pt>
                <c:pt idx="42">
                  <c:v>160</c:v>
                </c:pt>
                <c:pt idx="43">
                  <c:v>195</c:v>
                </c:pt>
                <c:pt idx="44">
                  <c:v>203</c:v>
                </c:pt>
                <c:pt idx="45">
                  <c:v>213</c:v>
                </c:pt>
                <c:pt idx="46">
                  <c:v>107</c:v>
                </c:pt>
                <c:pt idx="47">
                  <c:v>49</c:v>
                </c:pt>
                <c:pt idx="48">
                  <c:v>194</c:v>
                </c:pt>
                <c:pt idx="49">
                  <c:v>198</c:v>
                </c:pt>
                <c:pt idx="50">
                  <c:v>268</c:v>
                </c:pt>
                <c:pt idx="51">
                  <c:v>238</c:v>
                </c:pt>
                <c:pt idx="52">
                  <c:v>340</c:v>
                </c:pt>
                <c:pt idx="53">
                  <c:v>188</c:v>
                </c:pt>
                <c:pt idx="54">
                  <c:v>90</c:v>
                </c:pt>
                <c:pt idx="55">
                  <c:v>381</c:v>
                </c:pt>
                <c:pt idx="56">
                  <c:v>408</c:v>
                </c:pt>
                <c:pt idx="57">
                  <c:v>136</c:v>
                </c:pt>
                <c:pt idx="58">
                  <c:v>475</c:v>
                </c:pt>
                <c:pt idx="59">
                  <c:v>339</c:v>
                </c:pt>
                <c:pt idx="60">
                  <c:v>186</c:v>
                </c:pt>
                <c:pt idx="61">
                  <c:v>119</c:v>
                </c:pt>
                <c:pt idx="62">
                  <c:v>306</c:v>
                </c:pt>
                <c:pt idx="63">
                  <c:v>235</c:v>
                </c:pt>
                <c:pt idx="64">
                  <c:v>337</c:v>
                </c:pt>
                <c:pt idx="65">
                  <c:v>289</c:v>
                </c:pt>
                <c:pt idx="66">
                  <c:v>244</c:v>
                </c:pt>
                <c:pt idx="67">
                  <c:v>118</c:v>
                </c:pt>
                <c:pt idx="68">
                  <c:v>51</c:v>
                </c:pt>
                <c:pt idx="69">
                  <c:v>203</c:v>
                </c:pt>
                <c:pt idx="70">
                  <c:v>207</c:v>
                </c:pt>
                <c:pt idx="71">
                  <c:v>266</c:v>
                </c:pt>
                <c:pt idx="72">
                  <c:v>237</c:v>
                </c:pt>
                <c:pt idx="73">
                  <c:v>207</c:v>
                </c:pt>
                <c:pt idx="74">
                  <c:v>75</c:v>
                </c:pt>
                <c:pt idx="75">
                  <c:v>31</c:v>
                </c:pt>
                <c:pt idx="76">
                  <c:v>193</c:v>
                </c:pt>
                <c:pt idx="77">
                  <c:v>48</c:v>
                </c:pt>
                <c:pt idx="78">
                  <c:v>164</c:v>
                </c:pt>
                <c:pt idx="79">
                  <c:v>132</c:v>
                </c:pt>
                <c:pt idx="80">
                  <c:v>124</c:v>
                </c:pt>
                <c:pt idx="81">
                  <c:v>39</c:v>
                </c:pt>
                <c:pt idx="82">
                  <c:v>17</c:v>
                </c:pt>
                <c:pt idx="83">
                  <c:v>143</c:v>
                </c:pt>
                <c:pt idx="84">
                  <c:v>109</c:v>
                </c:pt>
                <c:pt idx="85">
                  <c:v>94</c:v>
                </c:pt>
                <c:pt idx="86">
                  <c:v>57</c:v>
                </c:pt>
                <c:pt idx="87">
                  <c:v>82</c:v>
                </c:pt>
                <c:pt idx="88">
                  <c:v>23</c:v>
                </c:pt>
                <c:pt idx="89">
                  <c:v>16</c:v>
                </c:pt>
                <c:pt idx="90">
                  <c:v>106</c:v>
                </c:pt>
                <c:pt idx="91">
                  <c:v>89</c:v>
                </c:pt>
                <c:pt idx="92">
                  <c:v>69</c:v>
                </c:pt>
                <c:pt idx="93">
                  <c:v>60</c:v>
                </c:pt>
                <c:pt idx="94">
                  <c:v>91</c:v>
                </c:pt>
                <c:pt idx="95">
                  <c:v>40</c:v>
                </c:pt>
                <c:pt idx="96">
                  <c:v>27</c:v>
                </c:pt>
                <c:pt idx="97">
                  <c:v>121</c:v>
                </c:pt>
                <c:pt idx="98">
                  <c:v>77</c:v>
                </c:pt>
                <c:pt idx="99">
                  <c:v>64</c:v>
                </c:pt>
                <c:pt idx="100">
                  <c:v>60</c:v>
                </c:pt>
                <c:pt idx="101">
                  <c:v>78</c:v>
                </c:pt>
                <c:pt idx="102">
                  <c:v>21</c:v>
                </c:pt>
                <c:pt idx="103">
                  <c:v>17</c:v>
                </c:pt>
                <c:pt idx="104">
                  <c:v>135</c:v>
                </c:pt>
                <c:pt idx="105">
                  <c:v>72</c:v>
                </c:pt>
                <c:pt idx="106">
                  <c:v>96</c:v>
                </c:pt>
                <c:pt idx="107">
                  <c:v>52</c:v>
                </c:pt>
                <c:pt idx="108">
                  <c:v>84</c:v>
                </c:pt>
                <c:pt idx="109">
                  <c:v>29</c:v>
                </c:pt>
                <c:pt idx="110">
                  <c:v>28</c:v>
                </c:pt>
                <c:pt idx="111">
                  <c:v>162</c:v>
                </c:pt>
                <c:pt idx="112">
                  <c:v>113</c:v>
                </c:pt>
                <c:pt idx="113">
                  <c:v>121</c:v>
                </c:pt>
                <c:pt idx="114">
                  <c:v>31</c:v>
                </c:pt>
                <c:pt idx="115">
                  <c:v>49</c:v>
                </c:pt>
                <c:pt idx="116">
                  <c:v>52</c:v>
                </c:pt>
                <c:pt idx="117">
                  <c:v>48</c:v>
                </c:pt>
                <c:pt idx="118">
                  <c:v>196</c:v>
                </c:pt>
                <c:pt idx="119">
                  <c:v>148</c:v>
                </c:pt>
                <c:pt idx="120">
                  <c:v>113</c:v>
                </c:pt>
                <c:pt idx="121">
                  <c:v>90</c:v>
                </c:pt>
                <c:pt idx="122">
                  <c:v>31</c:v>
                </c:pt>
                <c:pt idx="123">
                  <c:v>63</c:v>
                </c:pt>
                <c:pt idx="124">
                  <c:v>35</c:v>
                </c:pt>
                <c:pt idx="125">
                  <c:v>282</c:v>
                </c:pt>
                <c:pt idx="126">
                  <c:v>148</c:v>
                </c:pt>
                <c:pt idx="127">
                  <c:v>114</c:v>
                </c:pt>
                <c:pt idx="128">
                  <c:v>104</c:v>
                </c:pt>
                <c:pt idx="129">
                  <c:v>126</c:v>
                </c:pt>
                <c:pt idx="130">
                  <c:v>50</c:v>
                </c:pt>
                <c:pt idx="131">
                  <c:v>27</c:v>
                </c:pt>
                <c:pt idx="132">
                  <c:v>237</c:v>
                </c:pt>
                <c:pt idx="133">
                  <c:v>99</c:v>
                </c:pt>
                <c:pt idx="134">
                  <c:v>111</c:v>
                </c:pt>
                <c:pt idx="135">
                  <c:v>56</c:v>
                </c:pt>
                <c:pt idx="136">
                  <c:v>67</c:v>
                </c:pt>
                <c:pt idx="137">
                  <c:v>34</c:v>
                </c:pt>
                <c:pt idx="138">
                  <c:v>29</c:v>
                </c:pt>
                <c:pt idx="139">
                  <c:v>130</c:v>
                </c:pt>
                <c:pt idx="140">
                  <c:v>77</c:v>
                </c:pt>
                <c:pt idx="141">
                  <c:v>72</c:v>
                </c:pt>
                <c:pt idx="142">
                  <c:v>62</c:v>
                </c:pt>
                <c:pt idx="143">
                  <c:v>80</c:v>
                </c:pt>
                <c:pt idx="144">
                  <c:v>28</c:v>
                </c:pt>
                <c:pt idx="145">
                  <c:v>13</c:v>
                </c:pt>
                <c:pt idx="146">
                  <c:v>90</c:v>
                </c:pt>
                <c:pt idx="147">
                  <c:v>77</c:v>
                </c:pt>
                <c:pt idx="148">
                  <c:v>60</c:v>
                </c:pt>
                <c:pt idx="149">
                  <c:v>33</c:v>
                </c:pt>
                <c:pt idx="150">
                  <c:v>48</c:v>
                </c:pt>
                <c:pt idx="151">
                  <c:v>30</c:v>
                </c:pt>
                <c:pt idx="152">
                  <c:v>12</c:v>
                </c:pt>
                <c:pt idx="153">
                  <c:v>82</c:v>
                </c:pt>
                <c:pt idx="154">
                  <c:v>72</c:v>
                </c:pt>
                <c:pt idx="155">
                  <c:v>59</c:v>
                </c:pt>
                <c:pt idx="156">
                  <c:v>46</c:v>
                </c:pt>
                <c:pt idx="157">
                  <c:v>49</c:v>
                </c:pt>
                <c:pt idx="158">
                  <c:v>11</c:v>
                </c:pt>
                <c:pt idx="159">
                  <c:v>18</c:v>
                </c:pt>
                <c:pt idx="160">
                  <c:v>74</c:v>
                </c:pt>
                <c:pt idx="161">
                  <c:v>22</c:v>
                </c:pt>
                <c:pt idx="162">
                  <c:v>34</c:v>
                </c:pt>
                <c:pt idx="163">
                  <c:v>41</c:v>
                </c:pt>
                <c:pt idx="164">
                  <c:v>40</c:v>
                </c:pt>
                <c:pt idx="165">
                  <c:v>15</c:v>
                </c:pt>
                <c:pt idx="166">
                  <c:v>13</c:v>
                </c:pt>
                <c:pt idx="167">
                  <c:v>63</c:v>
                </c:pt>
                <c:pt idx="168">
                  <c:v>33</c:v>
                </c:pt>
                <c:pt idx="169">
                  <c:v>36</c:v>
                </c:pt>
                <c:pt idx="170">
                  <c:v>34</c:v>
                </c:pt>
                <c:pt idx="171">
                  <c:v>36</c:v>
                </c:pt>
                <c:pt idx="172">
                  <c:v>6</c:v>
                </c:pt>
                <c:pt idx="173">
                  <c:v>21</c:v>
                </c:pt>
                <c:pt idx="174">
                  <c:v>78</c:v>
                </c:pt>
                <c:pt idx="175">
                  <c:v>46</c:v>
                </c:pt>
                <c:pt idx="176">
                  <c:v>35</c:v>
                </c:pt>
                <c:pt idx="177">
                  <c:v>33</c:v>
                </c:pt>
                <c:pt idx="178">
                  <c:v>40</c:v>
                </c:pt>
                <c:pt idx="179">
                  <c:v>10</c:v>
                </c:pt>
                <c:pt idx="180">
                  <c:v>9</c:v>
                </c:pt>
                <c:pt idx="181">
                  <c:v>59</c:v>
                </c:pt>
                <c:pt idx="182">
                  <c:v>40</c:v>
                </c:pt>
                <c:pt idx="183">
                  <c:v>57</c:v>
                </c:pt>
                <c:pt idx="184">
                  <c:v>45</c:v>
                </c:pt>
                <c:pt idx="185">
                  <c:v>31</c:v>
                </c:pt>
                <c:pt idx="186">
                  <c:v>14</c:v>
                </c:pt>
                <c:pt idx="187">
                  <c:v>11</c:v>
                </c:pt>
                <c:pt idx="188">
                  <c:v>63</c:v>
                </c:pt>
                <c:pt idx="189">
                  <c:v>37</c:v>
                </c:pt>
                <c:pt idx="190">
                  <c:v>30</c:v>
                </c:pt>
                <c:pt idx="191">
                  <c:v>26</c:v>
                </c:pt>
                <c:pt idx="192">
                  <c:v>19</c:v>
                </c:pt>
                <c:pt idx="193">
                  <c:v>12</c:v>
                </c:pt>
                <c:pt idx="194">
                  <c:v>7</c:v>
                </c:pt>
                <c:pt idx="195">
                  <c:v>39</c:v>
                </c:pt>
                <c:pt idx="196">
                  <c:v>25</c:v>
                </c:pt>
                <c:pt idx="197">
                  <c:v>26</c:v>
                </c:pt>
                <c:pt idx="198">
                  <c:v>16</c:v>
                </c:pt>
                <c:pt idx="199">
                  <c:v>22</c:v>
                </c:pt>
                <c:pt idx="200">
                  <c:v>2</c:v>
                </c:pt>
                <c:pt idx="201">
                  <c:v>5</c:v>
                </c:pt>
                <c:pt idx="202">
                  <c:v>34</c:v>
                </c:pt>
                <c:pt idx="203">
                  <c:v>18</c:v>
                </c:pt>
                <c:pt idx="204">
                  <c:v>10</c:v>
                </c:pt>
                <c:pt idx="205">
                  <c:v>8</c:v>
                </c:pt>
                <c:pt idx="206">
                  <c:v>16</c:v>
                </c:pt>
                <c:pt idx="207">
                  <c:v>3</c:v>
                </c:pt>
                <c:pt idx="208">
                  <c:v>1</c:v>
                </c:pt>
                <c:pt idx="209">
                  <c:v>19</c:v>
                </c:pt>
                <c:pt idx="210">
                  <c:v>17</c:v>
                </c:pt>
                <c:pt idx="211">
                  <c:v>13</c:v>
                </c:pt>
                <c:pt idx="212">
                  <c:v>12</c:v>
                </c:pt>
                <c:pt idx="213">
                  <c:v>3</c:v>
                </c:pt>
                <c:pt idx="214">
                  <c:v>4</c:v>
                </c:pt>
                <c:pt idx="215">
                  <c:v>2</c:v>
                </c:pt>
                <c:pt idx="216">
                  <c:v>5</c:v>
                </c:pt>
                <c:pt idx="217">
                  <c:v>22</c:v>
                </c:pt>
                <c:pt idx="218">
                  <c:v>18</c:v>
                </c:pt>
                <c:pt idx="219">
                  <c:v>16</c:v>
                </c:pt>
                <c:pt idx="220">
                  <c:v>8</c:v>
                </c:pt>
                <c:pt idx="221">
                  <c:v>5</c:v>
                </c:pt>
                <c:pt idx="222">
                  <c:v>1</c:v>
                </c:pt>
                <c:pt idx="223">
                  <c:v>8</c:v>
                </c:pt>
                <c:pt idx="224">
                  <c:v>6</c:v>
                </c:pt>
                <c:pt idx="225">
                  <c:v>5</c:v>
                </c:pt>
                <c:pt idx="226">
                  <c:v>6</c:v>
                </c:pt>
                <c:pt idx="227">
                  <c:v>6</c:v>
                </c:pt>
                <c:pt idx="228">
                  <c:v>1</c:v>
                </c:pt>
                <c:pt idx="229">
                  <c:v>1</c:v>
                </c:pt>
                <c:pt idx="230">
                  <c:v>10</c:v>
                </c:pt>
                <c:pt idx="231">
                  <c:v>4</c:v>
                </c:pt>
                <c:pt idx="232">
                  <c:v>5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8</c:v>
                </c:pt>
                <c:pt idx="238">
                  <c:v>8</c:v>
                </c:pt>
                <c:pt idx="239">
                  <c:v>3</c:v>
                </c:pt>
                <c:pt idx="240">
                  <c:v>2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3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5</c:v>
                </c:pt>
                <c:pt idx="259">
                  <c:v>5</c:v>
                </c:pt>
                <c:pt idx="260">
                  <c:v>2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5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3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6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11</c:v>
                </c:pt>
                <c:pt idx="415">
                  <c:v>7</c:v>
                </c:pt>
                <c:pt idx="416">
                  <c:v>10</c:v>
                </c:pt>
                <c:pt idx="417">
                  <c:v>0</c:v>
                </c:pt>
                <c:pt idx="418">
                  <c:v>3</c:v>
                </c:pt>
                <c:pt idx="419">
                  <c:v>19</c:v>
                </c:pt>
                <c:pt idx="420">
                  <c:v>6</c:v>
                </c:pt>
                <c:pt idx="421">
                  <c:v>18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6</c:v>
                </c:pt>
                <c:pt idx="428">
                  <c:v>21</c:v>
                </c:pt>
                <c:pt idx="429">
                  <c:v>25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2</c:v>
                </c:pt>
                <c:pt idx="434">
                  <c:v>25</c:v>
                </c:pt>
                <c:pt idx="435">
                  <c:v>30</c:v>
                </c:pt>
                <c:pt idx="436">
                  <c:v>37</c:v>
                </c:pt>
                <c:pt idx="437">
                  <c:v>34</c:v>
                </c:pt>
                <c:pt idx="438">
                  <c:v>20</c:v>
                </c:pt>
                <c:pt idx="439">
                  <c:v>14</c:v>
                </c:pt>
                <c:pt idx="440">
                  <c:v>56</c:v>
                </c:pt>
                <c:pt idx="441">
                  <c:v>34</c:v>
                </c:pt>
                <c:pt idx="442">
                  <c:v>14</c:v>
                </c:pt>
                <c:pt idx="443">
                  <c:v>42</c:v>
                </c:pt>
                <c:pt idx="444">
                  <c:v>52</c:v>
                </c:pt>
                <c:pt idx="445">
                  <c:v>11</c:v>
                </c:pt>
                <c:pt idx="446">
                  <c:v>7</c:v>
                </c:pt>
                <c:pt idx="447">
                  <c:v>69</c:v>
                </c:pt>
                <c:pt idx="448">
                  <c:v>44</c:v>
                </c:pt>
                <c:pt idx="449">
                  <c:v>48</c:v>
                </c:pt>
                <c:pt idx="450">
                  <c:v>49</c:v>
                </c:pt>
                <c:pt idx="451">
                  <c:v>48</c:v>
                </c:pt>
                <c:pt idx="452">
                  <c:v>22</c:v>
                </c:pt>
                <c:pt idx="453">
                  <c:v>8</c:v>
                </c:pt>
                <c:pt idx="454">
                  <c:v>45</c:v>
                </c:pt>
                <c:pt idx="455">
                  <c:v>48</c:v>
                </c:pt>
                <c:pt idx="456">
                  <c:v>43</c:v>
                </c:pt>
                <c:pt idx="457">
                  <c:v>33</c:v>
                </c:pt>
                <c:pt idx="458">
                  <c:v>29</c:v>
                </c:pt>
                <c:pt idx="459">
                  <c:v>21</c:v>
                </c:pt>
                <c:pt idx="460">
                  <c:v>10</c:v>
                </c:pt>
                <c:pt idx="461">
                  <c:v>49</c:v>
                </c:pt>
                <c:pt idx="462">
                  <c:v>35</c:v>
                </c:pt>
                <c:pt idx="463">
                  <c:v>34</c:v>
                </c:pt>
                <c:pt idx="464">
                  <c:v>25</c:v>
                </c:pt>
                <c:pt idx="465">
                  <c:v>18</c:v>
                </c:pt>
                <c:pt idx="466">
                  <c:v>13</c:v>
                </c:pt>
                <c:pt idx="467">
                  <c:v>9</c:v>
                </c:pt>
                <c:pt idx="468">
                  <c:v>30</c:v>
                </c:pt>
                <c:pt idx="469">
                  <c:v>36</c:v>
                </c:pt>
                <c:pt idx="470">
                  <c:v>28</c:v>
                </c:pt>
                <c:pt idx="471">
                  <c:v>17</c:v>
                </c:pt>
                <c:pt idx="472">
                  <c:v>14</c:v>
                </c:pt>
                <c:pt idx="473">
                  <c:v>8</c:v>
                </c:pt>
                <c:pt idx="474">
                  <c:v>10</c:v>
                </c:pt>
                <c:pt idx="475">
                  <c:v>25</c:v>
                </c:pt>
                <c:pt idx="476">
                  <c:v>12</c:v>
                </c:pt>
                <c:pt idx="477">
                  <c:v>8</c:v>
                </c:pt>
                <c:pt idx="478">
                  <c:v>4</c:v>
                </c:pt>
                <c:pt idx="479">
                  <c:v>7</c:v>
                </c:pt>
                <c:pt idx="480">
                  <c:v>3</c:v>
                </c:pt>
                <c:pt idx="481">
                  <c:v>5</c:v>
                </c:pt>
                <c:pt idx="482">
                  <c:v>10</c:v>
                </c:pt>
                <c:pt idx="483">
                  <c:v>17</c:v>
                </c:pt>
                <c:pt idx="484">
                  <c:v>8</c:v>
                </c:pt>
                <c:pt idx="485">
                  <c:v>9</c:v>
                </c:pt>
                <c:pt idx="486">
                  <c:v>6</c:v>
                </c:pt>
                <c:pt idx="487">
                  <c:v>0</c:v>
                </c:pt>
                <c:pt idx="488">
                  <c:v>4</c:v>
                </c:pt>
                <c:pt idx="489">
                  <c:v>19</c:v>
                </c:pt>
                <c:pt idx="490">
                  <c:v>14</c:v>
                </c:pt>
                <c:pt idx="491">
                  <c:v>5</c:v>
                </c:pt>
                <c:pt idx="492">
                  <c:v>9</c:v>
                </c:pt>
                <c:pt idx="493">
                  <c:v>11</c:v>
                </c:pt>
                <c:pt idx="494">
                  <c:v>3</c:v>
                </c:pt>
                <c:pt idx="495">
                  <c:v>3</c:v>
                </c:pt>
                <c:pt idx="496">
                  <c:v>18</c:v>
                </c:pt>
                <c:pt idx="497">
                  <c:v>11</c:v>
                </c:pt>
                <c:pt idx="498">
                  <c:v>8</c:v>
                </c:pt>
                <c:pt idx="499">
                  <c:v>13</c:v>
                </c:pt>
                <c:pt idx="500">
                  <c:v>11</c:v>
                </c:pt>
                <c:pt idx="501">
                  <c:v>6</c:v>
                </c:pt>
                <c:pt idx="502">
                  <c:v>10</c:v>
                </c:pt>
                <c:pt idx="503">
                  <c:v>47</c:v>
                </c:pt>
                <c:pt idx="504">
                  <c:v>32</c:v>
                </c:pt>
                <c:pt idx="505">
                  <c:v>40</c:v>
                </c:pt>
                <c:pt idx="506">
                  <c:v>46</c:v>
                </c:pt>
                <c:pt idx="507">
                  <c:v>64</c:v>
                </c:pt>
                <c:pt idx="508">
                  <c:v>20</c:v>
                </c:pt>
                <c:pt idx="509">
                  <c:v>15</c:v>
                </c:pt>
                <c:pt idx="510">
                  <c:v>88</c:v>
                </c:pt>
                <c:pt idx="511">
                  <c:v>83</c:v>
                </c:pt>
                <c:pt idx="512">
                  <c:v>82</c:v>
                </c:pt>
                <c:pt idx="513">
                  <c:v>79</c:v>
                </c:pt>
                <c:pt idx="514">
                  <c:v>93</c:v>
                </c:pt>
                <c:pt idx="515">
                  <c:v>41</c:v>
                </c:pt>
                <c:pt idx="516">
                  <c:v>33</c:v>
                </c:pt>
                <c:pt idx="517">
                  <c:v>89</c:v>
                </c:pt>
                <c:pt idx="518">
                  <c:v>127</c:v>
                </c:pt>
                <c:pt idx="519">
                  <c:v>102</c:v>
                </c:pt>
                <c:pt idx="520">
                  <c:v>66</c:v>
                </c:pt>
                <c:pt idx="52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23</c:f>
              <c:numCache>
                <c:formatCode>m/d/yyyy</c:formatCode>
                <c:ptCount val="5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</c:numCache>
            </c:numRef>
          </c:cat>
          <c:val>
            <c:numRef>
              <c:f>Sheet1!$B$2:$B$523</c:f>
              <c:numCache>
                <c:formatCode>#\ ##0_ ;\-#\ ##0\ </c:formatCode>
                <c:ptCount val="522"/>
                <c:pt idx="0">
                  <c:v>7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5</c:v>
                </c:pt>
                <c:pt idx="12">
                  <c:v>1</c:v>
                </c:pt>
                <c:pt idx="13">
                  <c:v>4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7</c:v>
                </c:pt>
                <c:pt idx="20">
                  <c:v>6</c:v>
                </c:pt>
                <c:pt idx="21">
                  <c:v>5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7</c:v>
                </c:pt>
                <c:pt idx="28">
                  <c:v>30</c:v>
                </c:pt>
                <c:pt idx="29">
                  <c:v>38</c:v>
                </c:pt>
                <c:pt idx="30">
                  <c:v>61</c:v>
                </c:pt>
                <c:pt idx="31">
                  <c:v>158</c:v>
                </c:pt>
                <c:pt idx="32">
                  <c:v>67</c:v>
                </c:pt>
                <c:pt idx="33">
                  <c:v>85</c:v>
                </c:pt>
                <c:pt idx="34">
                  <c:v>260</c:v>
                </c:pt>
                <c:pt idx="35">
                  <c:v>129</c:v>
                </c:pt>
                <c:pt idx="36">
                  <c:v>88</c:v>
                </c:pt>
                <c:pt idx="37">
                  <c:v>164</c:v>
                </c:pt>
                <c:pt idx="38">
                  <c:v>228</c:v>
                </c:pt>
                <c:pt idx="39">
                  <c:v>81</c:v>
                </c:pt>
                <c:pt idx="40">
                  <c:v>38</c:v>
                </c:pt>
                <c:pt idx="41">
                  <c:v>308</c:v>
                </c:pt>
                <c:pt idx="42">
                  <c:v>384</c:v>
                </c:pt>
                <c:pt idx="43">
                  <c:v>376</c:v>
                </c:pt>
                <c:pt idx="44">
                  <c:v>399</c:v>
                </c:pt>
                <c:pt idx="45">
                  <c:v>418</c:v>
                </c:pt>
                <c:pt idx="46">
                  <c:v>262</c:v>
                </c:pt>
                <c:pt idx="47">
                  <c:v>90</c:v>
                </c:pt>
                <c:pt idx="48">
                  <c:v>436</c:v>
                </c:pt>
                <c:pt idx="49">
                  <c:v>398</c:v>
                </c:pt>
                <c:pt idx="50">
                  <c:v>594</c:v>
                </c:pt>
                <c:pt idx="51">
                  <c:v>466</c:v>
                </c:pt>
                <c:pt idx="52">
                  <c:v>761</c:v>
                </c:pt>
                <c:pt idx="53">
                  <c:v>415</c:v>
                </c:pt>
                <c:pt idx="54">
                  <c:v>285</c:v>
                </c:pt>
                <c:pt idx="55">
                  <c:v>769</c:v>
                </c:pt>
                <c:pt idx="56">
                  <c:v>932</c:v>
                </c:pt>
                <c:pt idx="57">
                  <c:v>397</c:v>
                </c:pt>
                <c:pt idx="58">
                  <c:v>1015</c:v>
                </c:pt>
                <c:pt idx="59">
                  <c:v>927</c:v>
                </c:pt>
                <c:pt idx="60">
                  <c:v>523</c:v>
                </c:pt>
                <c:pt idx="61">
                  <c:v>332</c:v>
                </c:pt>
                <c:pt idx="62">
                  <c:v>639</c:v>
                </c:pt>
                <c:pt idx="63">
                  <c:v>568</c:v>
                </c:pt>
                <c:pt idx="64">
                  <c:v>761</c:v>
                </c:pt>
                <c:pt idx="65">
                  <c:v>823</c:v>
                </c:pt>
                <c:pt idx="66">
                  <c:v>734</c:v>
                </c:pt>
                <c:pt idx="67">
                  <c:v>333</c:v>
                </c:pt>
                <c:pt idx="68">
                  <c:v>129</c:v>
                </c:pt>
                <c:pt idx="69">
                  <c:v>408</c:v>
                </c:pt>
                <c:pt idx="70">
                  <c:v>592</c:v>
                </c:pt>
                <c:pt idx="71">
                  <c:v>942</c:v>
                </c:pt>
                <c:pt idx="72">
                  <c:v>736</c:v>
                </c:pt>
                <c:pt idx="73">
                  <c:v>689</c:v>
                </c:pt>
                <c:pt idx="74">
                  <c:v>255</c:v>
                </c:pt>
                <c:pt idx="75">
                  <c:v>199</c:v>
                </c:pt>
                <c:pt idx="76">
                  <c:v>578</c:v>
                </c:pt>
                <c:pt idx="77">
                  <c:v>187</c:v>
                </c:pt>
                <c:pt idx="78">
                  <c:v>432</c:v>
                </c:pt>
                <c:pt idx="79">
                  <c:v>401</c:v>
                </c:pt>
                <c:pt idx="80">
                  <c:v>365</c:v>
                </c:pt>
                <c:pt idx="81">
                  <c:v>134</c:v>
                </c:pt>
                <c:pt idx="82">
                  <c:v>108</c:v>
                </c:pt>
                <c:pt idx="83">
                  <c:v>525</c:v>
                </c:pt>
                <c:pt idx="84">
                  <c:v>309</c:v>
                </c:pt>
                <c:pt idx="85">
                  <c:v>221</c:v>
                </c:pt>
                <c:pt idx="86">
                  <c:v>254</c:v>
                </c:pt>
                <c:pt idx="87">
                  <c:v>221</c:v>
                </c:pt>
                <c:pt idx="88">
                  <c:v>101</c:v>
                </c:pt>
                <c:pt idx="89">
                  <c:v>44</c:v>
                </c:pt>
                <c:pt idx="90">
                  <c:v>319</c:v>
                </c:pt>
                <c:pt idx="91">
                  <c:v>213</c:v>
                </c:pt>
                <c:pt idx="92">
                  <c:v>203</c:v>
                </c:pt>
                <c:pt idx="93">
                  <c:v>189</c:v>
                </c:pt>
                <c:pt idx="94">
                  <c:v>234</c:v>
                </c:pt>
                <c:pt idx="95">
                  <c:v>130</c:v>
                </c:pt>
                <c:pt idx="96">
                  <c:v>47</c:v>
                </c:pt>
                <c:pt idx="97">
                  <c:v>264</c:v>
                </c:pt>
                <c:pt idx="98">
                  <c:v>166</c:v>
                </c:pt>
                <c:pt idx="99">
                  <c:v>205</c:v>
                </c:pt>
                <c:pt idx="100">
                  <c:v>144</c:v>
                </c:pt>
                <c:pt idx="101">
                  <c:v>309</c:v>
                </c:pt>
                <c:pt idx="102">
                  <c:v>88</c:v>
                </c:pt>
                <c:pt idx="103">
                  <c:v>67</c:v>
                </c:pt>
                <c:pt idx="104">
                  <c:v>284</c:v>
                </c:pt>
                <c:pt idx="105">
                  <c:v>205</c:v>
                </c:pt>
                <c:pt idx="106">
                  <c:v>196</c:v>
                </c:pt>
                <c:pt idx="107">
                  <c:v>120</c:v>
                </c:pt>
                <c:pt idx="108">
                  <c:v>307</c:v>
                </c:pt>
                <c:pt idx="109">
                  <c:v>90</c:v>
                </c:pt>
                <c:pt idx="110">
                  <c:v>49</c:v>
                </c:pt>
                <c:pt idx="111">
                  <c:v>342</c:v>
                </c:pt>
                <c:pt idx="112">
                  <c:v>290</c:v>
                </c:pt>
                <c:pt idx="113">
                  <c:v>243</c:v>
                </c:pt>
                <c:pt idx="114">
                  <c:v>49</c:v>
                </c:pt>
                <c:pt idx="115">
                  <c:v>120</c:v>
                </c:pt>
                <c:pt idx="116">
                  <c:v>130</c:v>
                </c:pt>
                <c:pt idx="117">
                  <c:v>146</c:v>
                </c:pt>
                <c:pt idx="118">
                  <c:v>362</c:v>
                </c:pt>
                <c:pt idx="119">
                  <c:v>334</c:v>
                </c:pt>
                <c:pt idx="120">
                  <c:v>258</c:v>
                </c:pt>
                <c:pt idx="121">
                  <c:v>225</c:v>
                </c:pt>
                <c:pt idx="122">
                  <c:v>96</c:v>
                </c:pt>
                <c:pt idx="123">
                  <c:v>123</c:v>
                </c:pt>
                <c:pt idx="124">
                  <c:v>77</c:v>
                </c:pt>
                <c:pt idx="125">
                  <c:v>551</c:v>
                </c:pt>
                <c:pt idx="126">
                  <c:v>302</c:v>
                </c:pt>
                <c:pt idx="127">
                  <c:v>276</c:v>
                </c:pt>
                <c:pt idx="128">
                  <c:v>336</c:v>
                </c:pt>
                <c:pt idx="129">
                  <c:v>313</c:v>
                </c:pt>
                <c:pt idx="130">
                  <c:v>112</c:v>
                </c:pt>
                <c:pt idx="131">
                  <c:v>58</c:v>
                </c:pt>
                <c:pt idx="132">
                  <c:v>478</c:v>
                </c:pt>
                <c:pt idx="133">
                  <c:v>226</c:v>
                </c:pt>
                <c:pt idx="134">
                  <c:v>286</c:v>
                </c:pt>
                <c:pt idx="135">
                  <c:v>153</c:v>
                </c:pt>
                <c:pt idx="136">
                  <c:v>153</c:v>
                </c:pt>
                <c:pt idx="137">
                  <c:v>69</c:v>
                </c:pt>
                <c:pt idx="138">
                  <c:v>74</c:v>
                </c:pt>
                <c:pt idx="139">
                  <c:v>293</c:v>
                </c:pt>
                <c:pt idx="140">
                  <c:v>158</c:v>
                </c:pt>
                <c:pt idx="141">
                  <c:v>219</c:v>
                </c:pt>
                <c:pt idx="142">
                  <c:v>168</c:v>
                </c:pt>
                <c:pt idx="143">
                  <c:v>196</c:v>
                </c:pt>
                <c:pt idx="144">
                  <c:v>81</c:v>
                </c:pt>
                <c:pt idx="145">
                  <c:v>39</c:v>
                </c:pt>
                <c:pt idx="146">
                  <c:v>174</c:v>
                </c:pt>
                <c:pt idx="147">
                  <c:v>118</c:v>
                </c:pt>
                <c:pt idx="148">
                  <c:v>155</c:v>
                </c:pt>
                <c:pt idx="149">
                  <c:v>100</c:v>
                </c:pt>
                <c:pt idx="150">
                  <c:v>85</c:v>
                </c:pt>
                <c:pt idx="151">
                  <c:v>79</c:v>
                </c:pt>
                <c:pt idx="152">
                  <c:v>22</c:v>
                </c:pt>
                <c:pt idx="153">
                  <c:v>190</c:v>
                </c:pt>
                <c:pt idx="154">
                  <c:v>167</c:v>
                </c:pt>
                <c:pt idx="155">
                  <c:v>161</c:v>
                </c:pt>
                <c:pt idx="156">
                  <c:v>129</c:v>
                </c:pt>
                <c:pt idx="157">
                  <c:v>133</c:v>
                </c:pt>
                <c:pt idx="158">
                  <c:v>55</c:v>
                </c:pt>
                <c:pt idx="159">
                  <c:v>34</c:v>
                </c:pt>
                <c:pt idx="160">
                  <c:v>139</c:v>
                </c:pt>
                <c:pt idx="161">
                  <c:v>88</c:v>
                </c:pt>
                <c:pt idx="162">
                  <c:v>101</c:v>
                </c:pt>
                <c:pt idx="163">
                  <c:v>106</c:v>
                </c:pt>
                <c:pt idx="164">
                  <c:v>93</c:v>
                </c:pt>
                <c:pt idx="165">
                  <c:v>23</c:v>
                </c:pt>
                <c:pt idx="166">
                  <c:v>26</c:v>
                </c:pt>
                <c:pt idx="167">
                  <c:v>100</c:v>
                </c:pt>
                <c:pt idx="168">
                  <c:v>50</c:v>
                </c:pt>
                <c:pt idx="169">
                  <c:v>66</c:v>
                </c:pt>
                <c:pt idx="170">
                  <c:v>62</c:v>
                </c:pt>
                <c:pt idx="171">
                  <c:v>64</c:v>
                </c:pt>
                <c:pt idx="172">
                  <c:v>24</c:v>
                </c:pt>
                <c:pt idx="173">
                  <c:v>26</c:v>
                </c:pt>
                <c:pt idx="174">
                  <c:v>167</c:v>
                </c:pt>
                <c:pt idx="175">
                  <c:v>82</c:v>
                </c:pt>
                <c:pt idx="176">
                  <c:v>69</c:v>
                </c:pt>
                <c:pt idx="177">
                  <c:v>79</c:v>
                </c:pt>
                <c:pt idx="178">
                  <c:v>87</c:v>
                </c:pt>
                <c:pt idx="179">
                  <c:v>20</c:v>
                </c:pt>
                <c:pt idx="180">
                  <c:v>12</c:v>
                </c:pt>
                <c:pt idx="181">
                  <c:v>137</c:v>
                </c:pt>
                <c:pt idx="182">
                  <c:v>68</c:v>
                </c:pt>
                <c:pt idx="183">
                  <c:v>103</c:v>
                </c:pt>
                <c:pt idx="184">
                  <c:v>56</c:v>
                </c:pt>
                <c:pt idx="185">
                  <c:v>55</c:v>
                </c:pt>
                <c:pt idx="186">
                  <c:v>19</c:v>
                </c:pt>
                <c:pt idx="187">
                  <c:v>16</c:v>
                </c:pt>
                <c:pt idx="188">
                  <c:v>90</c:v>
                </c:pt>
                <c:pt idx="189">
                  <c:v>117</c:v>
                </c:pt>
                <c:pt idx="190">
                  <c:v>86</c:v>
                </c:pt>
                <c:pt idx="191">
                  <c:v>39</c:v>
                </c:pt>
                <c:pt idx="192">
                  <c:v>45</c:v>
                </c:pt>
                <c:pt idx="193">
                  <c:v>21</c:v>
                </c:pt>
                <c:pt idx="194">
                  <c:v>14</c:v>
                </c:pt>
                <c:pt idx="195">
                  <c:v>68</c:v>
                </c:pt>
                <c:pt idx="196">
                  <c:v>46</c:v>
                </c:pt>
                <c:pt idx="197">
                  <c:v>33</c:v>
                </c:pt>
                <c:pt idx="198">
                  <c:v>53</c:v>
                </c:pt>
                <c:pt idx="199">
                  <c:v>40</c:v>
                </c:pt>
                <c:pt idx="200">
                  <c:v>11</c:v>
                </c:pt>
                <c:pt idx="201">
                  <c:v>9</c:v>
                </c:pt>
                <c:pt idx="202">
                  <c:v>47</c:v>
                </c:pt>
                <c:pt idx="203">
                  <c:v>48</c:v>
                </c:pt>
                <c:pt idx="204">
                  <c:v>30</c:v>
                </c:pt>
                <c:pt idx="205">
                  <c:v>39</c:v>
                </c:pt>
                <c:pt idx="206">
                  <c:v>22</c:v>
                </c:pt>
                <c:pt idx="207">
                  <c:v>6</c:v>
                </c:pt>
                <c:pt idx="208">
                  <c:v>5</c:v>
                </c:pt>
                <c:pt idx="209">
                  <c:v>40</c:v>
                </c:pt>
                <c:pt idx="210">
                  <c:v>28</c:v>
                </c:pt>
                <c:pt idx="211">
                  <c:v>24</c:v>
                </c:pt>
                <c:pt idx="212">
                  <c:v>21</c:v>
                </c:pt>
                <c:pt idx="213">
                  <c:v>7</c:v>
                </c:pt>
                <c:pt idx="214">
                  <c:v>8</c:v>
                </c:pt>
                <c:pt idx="215">
                  <c:v>4</c:v>
                </c:pt>
                <c:pt idx="216">
                  <c:v>6</c:v>
                </c:pt>
                <c:pt idx="217">
                  <c:v>27</c:v>
                </c:pt>
                <c:pt idx="218">
                  <c:v>36</c:v>
                </c:pt>
                <c:pt idx="219">
                  <c:v>17</c:v>
                </c:pt>
                <c:pt idx="220">
                  <c:v>11</c:v>
                </c:pt>
                <c:pt idx="221">
                  <c:v>6</c:v>
                </c:pt>
                <c:pt idx="222">
                  <c:v>1</c:v>
                </c:pt>
                <c:pt idx="223">
                  <c:v>9</c:v>
                </c:pt>
                <c:pt idx="224">
                  <c:v>8</c:v>
                </c:pt>
                <c:pt idx="225">
                  <c:v>6</c:v>
                </c:pt>
                <c:pt idx="226">
                  <c:v>10</c:v>
                </c:pt>
                <c:pt idx="227">
                  <c:v>7</c:v>
                </c:pt>
                <c:pt idx="228">
                  <c:v>2</c:v>
                </c:pt>
                <c:pt idx="229">
                  <c:v>2</c:v>
                </c:pt>
                <c:pt idx="230">
                  <c:v>15</c:v>
                </c:pt>
                <c:pt idx="231">
                  <c:v>8</c:v>
                </c:pt>
                <c:pt idx="232">
                  <c:v>8</c:v>
                </c:pt>
                <c:pt idx="233">
                  <c:v>13</c:v>
                </c:pt>
                <c:pt idx="234">
                  <c:v>9</c:v>
                </c:pt>
                <c:pt idx="235">
                  <c:v>2</c:v>
                </c:pt>
                <c:pt idx="236">
                  <c:v>0</c:v>
                </c:pt>
                <c:pt idx="237">
                  <c:v>9</c:v>
                </c:pt>
                <c:pt idx="238">
                  <c:v>11</c:v>
                </c:pt>
                <c:pt idx="239">
                  <c:v>4</c:v>
                </c:pt>
                <c:pt idx="240">
                  <c:v>4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4</c:v>
                </c:pt>
                <c:pt idx="245">
                  <c:v>2</c:v>
                </c:pt>
                <c:pt idx="246">
                  <c:v>4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8</c:v>
                </c:pt>
                <c:pt idx="252">
                  <c:v>6</c:v>
                </c:pt>
                <c:pt idx="253">
                  <c:v>0</c:v>
                </c:pt>
                <c:pt idx="254">
                  <c:v>4</c:v>
                </c:pt>
                <c:pt idx="255">
                  <c:v>4</c:v>
                </c:pt>
                <c:pt idx="256">
                  <c:v>1</c:v>
                </c:pt>
                <c:pt idx="257">
                  <c:v>0</c:v>
                </c:pt>
                <c:pt idx="258">
                  <c:v>8</c:v>
                </c:pt>
                <c:pt idx="259">
                  <c:v>5</c:v>
                </c:pt>
                <c:pt idx="260">
                  <c:v>4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6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5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3</c:v>
                </c:pt>
                <c:pt idx="407">
                  <c:v>21</c:v>
                </c:pt>
                <c:pt idx="408">
                  <c:v>6</c:v>
                </c:pt>
                <c:pt idx="409">
                  <c:v>8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3</c:v>
                </c:pt>
                <c:pt idx="414">
                  <c:v>15</c:v>
                </c:pt>
                <c:pt idx="415">
                  <c:v>9</c:v>
                </c:pt>
                <c:pt idx="416">
                  <c:v>15</c:v>
                </c:pt>
                <c:pt idx="417">
                  <c:v>1</c:v>
                </c:pt>
                <c:pt idx="418">
                  <c:v>4</c:v>
                </c:pt>
                <c:pt idx="419">
                  <c:v>33</c:v>
                </c:pt>
                <c:pt idx="420">
                  <c:v>15</c:v>
                </c:pt>
                <c:pt idx="421">
                  <c:v>29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6</c:v>
                </c:pt>
                <c:pt idx="427">
                  <c:v>40</c:v>
                </c:pt>
                <c:pt idx="428">
                  <c:v>37</c:v>
                </c:pt>
                <c:pt idx="429">
                  <c:v>77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1</c:v>
                </c:pt>
                <c:pt idx="434">
                  <c:v>54</c:v>
                </c:pt>
                <c:pt idx="435">
                  <c:v>45</c:v>
                </c:pt>
                <c:pt idx="436">
                  <c:v>55</c:v>
                </c:pt>
                <c:pt idx="437">
                  <c:v>51</c:v>
                </c:pt>
                <c:pt idx="438">
                  <c:v>33</c:v>
                </c:pt>
                <c:pt idx="439">
                  <c:v>28</c:v>
                </c:pt>
                <c:pt idx="440">
                  <c:v>99</c:v>
                </c:pt>
                <c:pt idx="441">
                  <c:v>66</c:v>
                </c:pt>
                <c:pt idx="442">
                  <c:v>39</c:v>
                </c:pt>
                <c:pt idx="443">
                  <c:v>97</c:v>
                </c:pt>
                <c:pt idx="444">
                  <c:v>137</c:v>
                </c:pt>
                <c:pt idx="445">
                  <c:v>37</c:v>
                </c:pt>
                <c:pt idx="446">
                  <c:v>16</c:v>
                </c:pt>
                <c:pt idx="447">
                  <c:v>117</c:v>
                </c:pt>
                <c:pt idx="448">
                  <c:v>67</c:v>
                </c:pt>
                <c:pt idx="449">
                  <c:v>90</c:v>
                </c:pt>
                <c:pt idx="450">
                  <c:v>78</c:v>
                </c:pt>
                <c:pt idx="451">
                  <c:v>100</c:v>
                </c:pt>
                <c:pt idx="452">
                  <c:v>27</c:v>
                </c:pt>
                <c:pt idx="453">
                  <c:v>15</c:v>
                </c:pt>
                <c:pt idx="454">
                  <c:v>89</c:v>
                </c:pt>
                <c:pt idx="455">
                  <c:v>62</c:v>
                </c:pt>
                <c:pt idx="456">
                  <c:v>73</c:v>
                </c:pt>
                <c:pt idx="457">
                  <c:v>64</c:v>
                </c:pt>
                <c:pt idx="458">
                  <c:v>42</c:v>
                </c:pt>
                <c:pt idx="459">
                  <c:v>59</c:v>
                </c:pt>
                <c:pt idx="460">
                  <c:v>17</c:v>
                </c:pt>
                <c:pt idx="461">
                  <c:v>79</c:v>
                </c:pt>
                <c:pt idx="462">
                  <c:v>57</c:v>
                </c:pt>
                <c:pt idx="463">
                  <c:v>52</c:v>
                </c:pt>
                <c:pt idx="464">
                  <c:v>56</c:v>
                </c:pt>
                <c:pt idx="465">
                  <c:v>47</c:v>
                </c:pt>
                <c:pt idx="466">
                  <c:v>19</c:v>
                </c:pt>
                <c:pt idx="467">
                  <c:v>9</c:v>
                </c:pt>
                <c:pt idx="468">
                  <c:v>46</c:v>
                </c:pt>
                <c:pt idx="469">
                  <c:v>63</c:v>
                </c:pt>
                <c:pt idx="470">
                  <c:v>43</c:v>
                </c:pt>
                <c:pt idx="471">
                  <c:v>24</c:v>
                </c:pt>
                <c:pt idx="472">
                  <c:v>26</c:v>
                </c:pt>
                <c:pt idx="473">
                  <c:v>10</c:v>
                </c:pt>
                <c:pt idx="474">
                  <c:v>13</c:v>
                </c:pt>
                <c:pt idx="475">
                  <c:v>39</c:v>
                </c:pt>
                <c:pt idx="476">
                  <c:v>20</c:v>
                </c:pt>
                <c:pt idx="477">
                  <c:v>11</c:v>
                </c:pt>
                <c:pt idx="478">
                  <c:v>9</c:v>
                </c:pt>
                <c:pt idx="479">
                  <c:v>7</c:v>
                </c:pt>
                <c:pt idx="480">
                  <c:v>8</c:v>
                </c:pt>
                <c:pt idx="481">
                  <c:v>5</c:v>
                </c:pt>
                <c:pt idx="482">
                  <c:v>20</c:v>
                </c:pt>
                <c:pt idx="483">
                  <c:v>23</c:v>
                </c:pt>
                <c:pt idx="484">
                  <c:v>13</c:v>
                </c:pt>
                <c:pt idx="485">
                  <c:v>11</c:v>
                </c:pt>
                <c:pt idx="486">
                  <c:v>16</c:v>
                </c:pt>
                <c:pt idx="487">
                  <c:v>2</c:v>
                </c:pt>
                <c:pt idx="488">
                  <c:v>4</c:v>
                </c:pt>
                <c:pt idx="489">
                  <c:v>23</c:v>
                </c:pt>
                <c:pt idx="490">
                  <c:v>19</c:v>
                </c:pt>
                <c:pt idx="491">
                  <c:v>12</c:v>
                </c:pt>
                <c:pt idx="492">
                  <c:v>15</c:v>
                </c:pt>
                <c:pt idx="493">
                  <c:v>17</c:v>
                </c:pt>
                <c:pt idx="494">
                  <c:v>4</c:v>
                </c:pt>
                <c:pt idx="495">
                  <c:v>5</c:v>
                </c:pt>
                <c:pt idx="496">
                  <c:v>19</c:v>
                </c:pt>
                <c:pt idx="497">
                  <c:v>19</c:v>
                </c:pt>
                <c:pt idx="498">
                  <c:v>11</c:v>
                </c:pt>
                <c:pt idx="499">
                  <c:v>17</c:v>
                </c:pt>
                <c:pt idx="500">
                  <c:v>19</c:v>
                </c:pt>
                <c:pt idx="501">
                  <c:v>7</c:v>
                </c:pt>
                <c:pt idx="502">
                  <c:v>14</c:v>
                </c:pt>
                <c:pt idx="503">
                  <c:v>65</c:v>
                </c:pt>
                <c:pt idx="504">
                  <c:v>43</c:v>
                </c:pt>
                <c:pt idx="505">
                  <c:v>51</c:v>
                </c:pt>
                <c:pt idx="506">
                  <c:v>66</c:v>
                </c:pt>
                <c:pt idx="507">
                  <c:v>79</c:v>
                </c:pt>
                <c:pt idx="508">
                  <c:v>52</c:v>
                </c:pt>
                <c:pt idx="509">
                  <c:v>21</c:v>
                </c:pt>
                <c:pt idx="510">
                  <c:v>132</c:v>
                </c:pt>
                <c:pt idx="511">
                  <c:v>124</c:v>
                </c:pt>
                <c:pt idx="512">
                  <c:v>127</c:v>
                </c:pt>
                <c:pt idx="513">
                  <c:v>99</c:v>
                </c:pt>
                <c:pt idx="514">
                  <c:v>151</c:v>
                </c:pt>
                <c:pt idx="515" formatCode="General">
                  <c:v>46</c:v>
                </c:pt>
                <c:pt idx="516" formatCode="General">
                  <c:v>36</c:v>
                </c:pt>
                <c:pt idx="517" formatCode="General">
                  <c:v>121</c:v>
                </c:pt>
                <c:pt idx="518" formatCode="General">
                  <c:v>191</c:v>
                </c:pt>
                <c:pt idx="519" formatCode="General">
                  <c:v>149</c:v>
                </c:pt>
                <c:pt idx="520" formatCode="General">
                  <c:v>96</c:v>
                </c:pt>
                <c:pt idx="521" formatCode="General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W$1</c:f>
              <c:strCache>
                <c:ptCount val="22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  <c:pt idx="21">
                  <c:v>02/2022</c:v>
                </c:pt>
              </c:strCache>
            </c:strRef>
          </c:cat>
          <c:val>
            <c:numRef>
              <c:f>List1!$B$2:$W$2</c:f>
              <c:numCache>
                <c:formatCode>General</c:formatCode>
                <c:ptCount val="22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92</c:v>
                </c:pt>
                <c:pt idx="20">
                  <c:v>500</c:v>
                </c:pt>
                <c:pt idx="21">
                  <c:v>2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23</c:f>
              <c:numCache>
                <c:formatCode>m/d/yyyy</c:formatCode>
                <c:ptCount val="5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</c:numCache>
            </c:numRef>
          </c:cat>
          <c:val>
            <c:numRef>
              <c:f>Sheet1!$B$2:$B$523</c:f>
              <c:numCache>
                <c:formatCode>#\ ##0_ ;\-#\ ##0\ </c:formatCode>
                <c:ptCount val="52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1</c:v>
                </c:pt>
                <c:pt idx="57">
                  <c:v>27</c:v>
                </c:pt>
                <c:pt idx="58">
                  <c:v>47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2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2</c:v>
                </c:pt>
                <c:pt idx="72">
                  <c:v>48</c:v>
                </c:pt>
                <c:pt idx="73">
                  <c:v>48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2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7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5</c:v>
                </c:pt>
                <c:pt idx="154">
                  <c:v>9</c:v>
                </c:pt>
                <c:pt idx="155">
                  <c:v>9</c:v>
                </c:pt>
                <c:pt idx="156">
                  <c:v>12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9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2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4</c:v>
                </c:pt>
                <c:pt idx="457">
                  <c:v>0</c:v>
                </c:pt>
                <c:pt idx="458">
                  <c:v>0</c:v>
                </c:pt>
                <c:pt idx="459">
                  <c:v>1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1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2</c:v>
                </c:pt>
                <c:pt idx="488">
                  <c:v>0</c:v>
                </c:pt>
                <c:pt idx="489">
                  <c:v>0</c:v>
                </c:pt>
                <c:pt idx="490">
                  <c:v>3</c:v>
                </c:pt>
                <c:pt idx="491">
                  <c:v>0</c:v>
                </c:pt>
                <c:pt idx="492">
                  <c:v>3</c:v>
                </c:pt>
                <c:pt idx="493">
                  <c:v>1</c:v>
                </c:pt>
                <c:pt idx="494">
                  <c:v>0</c:v>
                </c:pt>
                <c:pt idx="495">
                  <c:v>1</c:v>
                </c:pt>
                <c:pt idx="496">
                  <c:v>0</c:v>
                </c:pt>
                <c:pt idx="497">
                  <c:v>1</c:v>
                </c:pt>
                <c:pt idx="498">
                  <c:v>1</c:v>
                </c:pt>
                <c:pt idx="499">
                  <c:v>0</c:v>
                </c:pt>
                <c:pt idx="500">
                  <c:v>1</c:v>
                </c:pt>
                <c:pt idx="501">
                  <c:v>0</c:v>
                </c:pt>
                <c:pt idx="502">
                  <c:v>1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3</c:v>
                </c:pt>
                <c:pt idx="507">
                  <c:v>1</c:v>
                </c:pt>
                <c:pt idx="508">
                  <c:v>1</c:v>
                </c:pt>
                <c:pt idx="509">
                  <c:v>3</c:v>
                </c:pt>
                <c:pt idx="510">
                  <c:v>0</c:v>
                </c:pt>
                <c:pt idx="511">
                  <c:v>2</c:v>
                </c:pt>
                <c:pt idx="512">
                  <c:v>0</c:v>
                </c:pt>
                <c:pt idx="513">
                  <c:v>1</c:v>
                </c:pt>
                <c:pt idx="514">
                  <c:v>1</c:v>
                </c:pt>
                <c:pt idx="515">
                  <c:v>2</c:v>
                </c:pt>
                <c:pt idx="516">
                  <c:v>0</c:v>
                </c:pt>
                <c:pt idx="517">
                  <c:v>1</c:v>
                </c:pt>
                <c:pt idx="518">
                  <c:v>5</c:v>
                </c:pt>
                <c:pt idx="519">
                  <c:v>2</c:v>
                </c:pt>
                <c:pt idx="520">
                  <c:v>2</c:v>
                </c:pt>
                <c:pt idx="5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31</c:f>
              <c:numCache>
                <c:formatCode>m/d/yyyy</c:formatCode>
                <c:ptCount val="430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9</c:v>
                </c:pt>
                <c:pt idx="260">
                  <c:v>44350</c:v>
                </c:pt>
                <c:pt idx="261">
                  <c:v>44358</c:v>
                </c:pt>
                <c:pt idx="262">
                  <c:v>44364</c:v>
                </c:pt>
                <c:pt idx="263">
                  <c:v>44370</c:v>
                </c:pt>
                <c:pt idx="264">
                  <c:v>44371</c:v>
                </c:pt>
                <c:pt idx="265">
                  <c:v>44377</c:v>
                </c:pt>
                <c:pt idx="266">
                  <c:v>44378</c:v>
                </c:pt>
                <c:pt idx="267">
                  <c:v>44381</c:v>
                </c:pt>
                <c:pt idx="268">
                  <c:v>44385</c:v>
                </c:pt>
                <c:pt idx="269">
                  <c:v>44388</c:v>
                </c:pt>
                <c:pt idx="270">
                  <c:v>44398</c:v>
                </c:pt>
                <c:pt idx="271">
                  <c:v>44401</c:v>
                </c:pt>
                <c:pt idx="272">
                  <c:v>44404</c:v>
                </c:pt>
                <c:pt idx="273">
                  <c:v>44405</c:v>
                </c:pt>
                <c:pt idx="274">
                  <c:v>44416</c:v>
                </c:pt>
                <c:pt idx="275">
                  <c:v>44419</c:v>
                </c:pt>
                <c:pt idx="276">
                  <c:v>44424</c:v>
                </c:pt>
                <c:pt idx="277">
                  <c:v>44425</c:v>
                </c:pt>
                <c:pt idx="278">
                  <c:v>44427</c:v>
                </c:pt>
                <c:pt idx="279">
                  <c:v>44431</c:v>
                </c:pt>
                <c:pt idx="280">
                  <c:v>44434</c:v>
                </c:pt>
                <c:pt idx="281">
                  <c:v>44435</c:v>
                </c:pt>
                <c:pt idx="282">
                  <c:v>44436</c:v>
                </c:pt>
                <c:pt idx="283">
                  <c:v>44440</c:v>
                </c:pt>
                <c:pt idx="284">
                  <c:v>44441</c:v>
                </c:pt>
                <c:pt idx="285">
                  <c:v>44442</c:v>
                </c:pt>
                <c:pt idx="286">
                  <c:v>44443</c:v>
                </c:pt>
                <c:pt idx="287">
                  <c:v>44445</c:v>
                </c:pt>
                <c:pt idx="288">
                  <c:v>44446</c:v>
                </c:pt>
                <c:pt idx="289">
                  <c:v>44447</c:v>
                </c:pt>
                <c:pt idx="290">
                  <c:v>44448</c:v>
                </c:pt>
                <c:pt idx="291">
                  <c:v>44451</c:v>
                </c:pt>
                <c:pt idx="292">
                  <c:v>44452</c:v>
                </c:pt>
                <c:pt idx="293">
                  <c:v>44453</c:v>
                </c:pt>
                <c:pt idx="294">
                  <c:v>44457</c:v>
                </c:pt>
                <c:pt idx="295">
                  <c:v>44459</c:v>
                </c:pt>
                <c:pt idx="296">
                  <c:v>44460</c:v>
                </c:pt>
                <c:pt idx="297">
                  <c:v>44461</c:v>
                </c:pt>
                <c:pt idx="298">
                  <c:v>44464</c:v>
                </c:pt>
                <c:pt idx="299">
                  <c:v>44465</c:v>
                </c:pt>
                <c:pt idx="300">
                  <c:v>44466</c:v>
                </c:pt>
                <c:pt idx="301">
                  <c:v>44467</c:v>
                </c:pt>
                <c:pt idx="302">
                  <c:v>44468</c:v>
                </c:pt>
                <c:pt idx="303">
                  <c:v>44469</c:v>
                </c:pt>
                <c:pt idx="304">
                  <c:v>44470</c:v>
                </c:pt>
                <c:pt idx="305">
                  <c:v>44471</c:v>
                </c:pt>
                <c:pt idx="306">
                  <c:v>44472</c:v>
                </c:pt>
                <c:pt idx="307">
                  <c:v>44473</c:v>
                </c:pt>
                <c:pt idx="308">
                  <c:v>44474</c:v>
                </c:pt>
                <c:pt idx="309">
                  <c:v>44475</c:v>
                </c:pt>
                <c:pt idx="310">
                  <c:v>44476</c:v>
                </c:pt>
                <c:pt idx="311">
                  <c:v>44477</c:v>
                </c:pt>
                <c:pt idx="312">
                  <c:v>44478</c:v>
                </c:pt>
                <c:pt idx="313">
                  <c:v>44480</c:v>
                </c:pt>
                <c:pt idx="314">
                  <c:v>44481</c:v>
                </c:pt>
                <c:pt idx="315">
                  <c:v>44482</c:v>
                </c:pt>
                <c:pt idx="316">
                  <c:v>44483</c:v>
                </c:pt>
                <c:pt idx="317">
                  <c:v>44484</c:v>
                </c:pt>
                <c:pt idx="318">
                  <c:v>44485</c:v>
                </c:pt>
                <c:pt idx="319">
                  <c:v>44486</c:v>
                </c:pt>
                <c:pt idx="320">
                  <c:v>44487</c:v>
                </c:pt>
                <c:pt idx="321">
                  <c:v>44488</c:v>
                </c:pt>
                <c:pt idx="322">
                  <c:v>44489</c:v>
                </c:pt>
                <c:pt idx="323">
                  <c:v>44490</c:v>
                </c:pt>
                <c:pt idx="324">
                  <c:v>44491</c:v>
                </c:pt>
                <c:pt idx="325">
                  <c:v>44492</c:v>
                </c:pt>
                <c:pt idx="326">
                  <c:v>44493</c:v>
                </c:pt>
                <c:pt idx="327">
                  <c:v>44494</c:v>
                </c:pt>
                <c:pt idx="328">
                  <c:v>44495</c:v>
                </c:pt>
                <c:pt idx="329">
                  <c:v>44496</c:v>
                </c:pt>
                <c:pt idx="330">
                  <c:v>44497</c:v>
                </c:pt>
                <c:pt idx="331">
                  <c:v>44498</c:v>
                </c:pt>
                <c:pt idx="332">
                  <c:v>44499</c:v>
                </c:pt>
                <c:pt idx="333">
                  <c:v>44500</c:v>
                </c:pt>
                <c:pt idx="334">
                  <c:v>44501</c:v>
                </c:pt>
                <c:pt idx="335">
                  <c:v>44502</c:v>
                </c:pt>
                <c:pt idx="336">
                  <c:v>44503</c:v>
                </c:pt>
                <c:pt idx="337">
                  <c:v>44504</c:v>
                </c:pt>
                <c:pt idx="338">
                  <c:v>44505</c:v>
                </c:pt>
                <c:pt idx="339">
                  <c:v>44506</c:v>
                </c:pt>
                <c:pt idx="340">
                  <c:v>44507</c:v>
                </c:pt>
                <c:pt idx="341">
                  <c:v>44508</c:v>
                </c:pt>
                <c:pt idx="342">
                  <c:v>44509</c:v>
                </c:pt>
                <c:pt idx="343">
                  <c:v>44510</c:v>
                </c:pt>
                <c:pt idx="344">
                  <c:v>44511</c:v>
                </c:pt>
                <c:pt idx="345">
                  <c:v>44512</c:v>
                </c:pt>
                <c:pt idx="346">
                  <c:v>44513</c:v>
                </c:pt>
                <c:pt idx="347">
                  <c:v>44514</c:v>
                </c:pt>
                <c:pt idx="348">
                  <c:v>44515</c:v>
                </c:pt>
                <c:pt idx="349">
                  <c:v>44516</c:v>
                </c:pt>
                <c:pt idx="350">
                  <c:v>44517</c:v>
                </c:pt>
                <c:pt idx="351">
                  <c:v>44518</c:v>
                </c:pt>
                <c:pt idx="352">
                  <c:v>44519</c:v>
                </c:pt>
                <c:pt idx="353">
                  <c:v>44520</c:v>
                </c:pt>
                <c:pt idx="354">
                  <c:v>44521</c:v>
                </c:pt>
                <c:pt idx="355">
                  <c:v>44522</c:v>
                </c:pt>
                <c:pt idx="356">
                  <c:v>44523</c:v>
                </c:pt>
                <c:pt idx="357">
                  <c:v>44524</c:v>
                </c:pt>
                <c:pt idx="358">
                  <c:v>44525</c:v>
                </c:pt>
                <c:pt idx="359">
                  <c:v>44526</c:v>
                </c:pt>
                <c:pt idx="360">
                  <c:v>44527</c:v>
                </c:pt>
                <c:pt idx="361">
                  <c:v>44528</c:v>
                </c:pt>
                <c:pt idx="362">
                  <c:v>44529</c:v>
                </c:pt>
                <c:pt idx="363">
                  <c:v>44530</c:v>
                </c:pt>
                <c:pt idx="364">
                  <c:v>44531</c:v>
                </c:pt>
                <c:pt idx="365">
                  <c:v>44532</c:v>
                </c:pt>
                <c:pt idx="366">
                  <c:v>44533</c:v>
                </c:pt>
                <c:pt idx="367">
                  <c:v>44534</c:v>
                </c:pt>
                <c:pt idx="368">
                  <c:v>44535</c:v>
                </c:pt>
                <c:pt idx="369">
                  <c:v>44536</c:v>
                </c:pt>
                <c:pt idx="370">
                  <c:v>44537</c:v>
                </c:pt>
                <c:pt idx="371">
                  <c:v>44538</c:v>
                </c:pt>
                <c:pt idx="372">
                  <c:v>44539</c:v>
                </c:pt>
                <c:pt idx="373">
                  <c:v>44540</c:v>
                </c:pt>
                <c:pt idx="374">
                  <c:v>44541</c:v>
                </c:pt>
                <c:pt idx="375">
                  <c:v>44542</c:v>
                </c:pt>
                <c:pt idx="376">
                  <c:v>44543</c:v>
                </c:pt>
                <c:pt idx="377">
                  <c:v>44544</c:v>
                </c:pt>
                <c:pt idx="378">
                  <c:v>44545</c:v>
                </c:pt>
                <c:pt idx="379">
                  <c:v>44546</c:v>
                </c:pt>
                <c:pt idx="380">
                  <c:v>44547</c:v>
                </c:pt>
                <c:pt idx="381">
                  <c:v>44548</c:v>
                </c:pt>
                <c:pt idx="382">
                  <c:v>44549</c:v>
                </c:pt>
                <c:pt idx="383">
                  <c:v>44550</c:v>
                </c:pt>
                <c:pt idx="384">
                  <c:v>44551</c:v>
                </c:pt>
                <c:pt idx="385">
                  <c:v>44552</c:v>
                </c:pt>
                <c:pt idx="386">
                  <c:v>44553</c:v>
                </c:pt>
                <c:pt idx="387">
                  <c:v>44554</c:v>
                </c:pt>
                <c:pt idx="388">
                  <c:v>44555</c:v>
                </c:pt>
                <c:pt idx="389">
                  <c:v>44556</c:v>
                </c:pt>
                <c:pt idx="390">
                  <c:v>44557</c:v>
                </c:pt>
                <c:pt idx="391">
                  <c:v>44558</c:v>
                </c:pt>
                <c:pt idx="392">
                  <c:v>44559</c:v>
                </c:pt>
                <c:pt idx="393">
                  <c:v>44560</c:v>
                </c:pt>
                <c:pt idx="394">
                  <c:v>44561</c:v>
                </c:pt>
                <c:pt idx="395">
                  <c:v>44562</c:v>
                </c:pt>
                <c:pt idx="396">
                  <c:v>44563</c:v>
                </c:pt>
                <c:pt idx="397">
                  <c:v>44564</c:v>
                </c:pt>
                <c:pt idx="398">
                  <c:v>44565</c:v>
                </c:pt>
                <c:pt idx="399">
                  <c:v>44566</c:v>
                </c:pt>
                <c:pt idx="400">
                  <c:v>44567</c:v>
                </c:pt>
                <c:pt idx="401">
                  <c:v>44568</c:v>
                </c:pt>
                <c:pt idx="402">
                  <c:v>44569</c:v>
                </c:pt>
                <c:pt idx="403">
                  <c:v>44570</c:v>
                </c:pt>
                <c:pt idx="404">
                  <c:v>44571</c:v>
                </c:pt>
                <c:pt idx="405">
                  <c:v>44572</c:v>
                </c:pt>
                <c:pt idx="406">
                  <c:v>44573</c:v>
                </c:pt>
                <c:pt idx="407">
                  <c:v>44574</c:v>
                </c:pt>
                <c:pt idx="408">
                  <c:v>44575</c:v>
                </c:pt>
                <c:pt idx="409">
                  <c:v>44576</c:v>
                </c:pt>
                <c:pt idx="410">
                  <c:v>44577</c:v>
                </c:pt>
                <c:pt idx="411">
                  <c:v>44578</c:v>
                </c:pt>
                <c:pt idx="412">
                  <c:v>44579</c:v>
                </c:pt>
                <c:pt idx="413">
                  <c:v>44580</c:v>
                </c:pt>
                <c:pt idx="414">
                  <c:v>44581</c:v>
                </c:pt>
                <c:pt idx="415">
                  <c:v>44582</c:v>
                </c:pt>
                <c:pt idx="416">
                  <c:v>44583</c:v>
                </c:pt>
                <c:pt idx="417">
                  <c:v>44584</c:v>
                </c:pt>
                <c:pt idx="418">
                  <c:v>44585</c:v>
                </c:pt>
                <c:pt idx="419">
                  <c:v>44586</c:v>
                </c:pt>
                <c:pt idx="420">
                  <c:v>44587</c:v>
                </c:pt>
                <c:pt idx="421">
                  <c:v>44588</c:v>
                </c:pt>
                <c:pt idx="422">
                  <c:v>44589</c:v>
                </c:pt>
                <c:pt idx="423">
                  <c:v>44590</c:v>
                </c:pt>
                <c:pt idx="424">
                  <c:v>44591</c:v>
                </c:pt>
                <c:pt idx="425">
                  <c:v>44592</c:v>
                </c:pt>
                <c:pt idx="426">
                  <c:v>44593</c:v>
                </c:pt>
                <c:pt idx="427">
                  <c:v>44594</c:v>
                </c:pt>
                <c:pt idx="428">
                  <c:v>44595</c:v>
                </c:pt>
                <c:pt idx="429">
                  <c:v>44596</c:v>
                </c:pt>
              </c:numCache>
            </c:numRef>
          </c:cat>
          <c:val>
            <c:numRef>
              <c:f>Sheet1!$B$2:$B$431</c:f>
              <c:numCache>
                <c:formatCode>General</c:formatCode>
                <c:ptCount val="430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1</c:v>
                </c:pt>
                <c:pt idx="25">
                  <c:v>8</c:v>
                </c:pt>
                <c:pt idx="26">
                  <c:v>9</c:v>
                </c:pt>
                <c:pt idx="27">
                  <c:v>18</c:v>
                </c:pt>
                <c:pt idx="28">
                  <c:v>10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38</c:v>
                </c:pt>
                <c:pt idx="39">
                  <c:v>50</c:v>
                </c:pt>
                <c:pt idx="40">
                  <c:v>33</c:v>
                </c:pt>
                <c:pt idx="41">
                  <c:v>41</c:v>
                </c:pt>
                <c:pt idx="42">
                  <c:v>25</c:v>
                </c:pt>
                <c:pt idx="43">
                  <c:v>16</c:v>
                </c:pt>
                <c:pt idx="44">
                  <c:v>42</c:v>
                </c:pt>
                <c:pt idx="45">
                  <c:v>40</c:v>
                </c:pt>
                <c:pt idx="46">
                  <c:v>54</c:v>
                </c:pt>
                <c:pt idx="47">
                  <c:v>62</c:v>
                </c:pt>
                <c:pt idx="48">
                  <c:v>76</c:v>
                </c:pt>
                <c:pt idx="49">
                  <c:v>45</c:v>
                </c:pt>
                <c:pt idx="50">
                  <c:v>33</c:v>
                </c:pt>
                <c:pt idx="51">
                  <c:v>79</c:v>
                </c:pt>
                <c:pt idx="52">
                  <c:v>72</c:v>
                </c:pt>
                <c:pt idx="53">
                  <c:v>42</c:v>
                </c:pt>
                <c:pt idx="54">
                  <c:v>86</c:v>
                </c:pt>
                <c:pt idx="55">
                  <c:v>96</c:v>
                </c:pt>
                <c:pt idx="56">
                  <c:v>37</c:v>
                </c:pt>
                <c:pt idx="57">
                  <c:v>37</c:v>
                </c:pt>
                <c:pt idx="58">
                  <c:v>63</c:v>
                </c:pt>
                <c:pt idx="59">
                  <c:v>63</c:v>
                </c:pt>
                <c:pt idx="60">
                  <c:v>66</c:v>
                </c:pt>
                <c:pt idx="61">
                  <c:v>80</c:v>
                </c:pt>
                <c:pt idx="62">
                  <c:v>84</c:v>
                </c:pt>
                <c:pt idx="63">
                  <c:v>32</c:v>
                </c:pt>
                <c:pt idx="64">
                  <c:v>16</c:v>
                </c:pt>
                <c:pt idx="65">
                  <c:v>53</c:v>
                </c:pt>
                <c:pt idx="66">
                  <c:v>72</c:v>
                </c:pt>
                <c:pt idx="67">
                  <c:v>118</c:v>
                </c:pt>
                <c:pt idx="68">
                  <c:v>93</c:v>
                </c:pt>
                <c:pt idx="69">
                  <c:v>80</c:v>
                </c:pt>
                <c:pt idx="70">
                  <c:v>44</c:v>
                </c:pt>
                <c:pt idx="71">
                  <c:v>26</c:v>
                </c:pt>
                <c:pt idx="72">
                  <c:v>66</c:v>
                </c:pt>
                <c:pt idx="73">
                  <c:v>26</c:v>
                </c:pt>
                <c:pt idx="74">
                  <c:v>49</c:v>
                </c:pt>
                <c:pt idx="75">
                  <c:v>59</c:v>
                </c:pt>
                <c:pt idx="76">
                  <c:v>51</c:v>
                </c:pt>
                <c:pt idx="77">
                  <c:v>20</c:v>
                </c:pt>
                <c:pt idx="78">
                  <c:v>13</c:v>
                </c:pt>
                <c:pt idx="79">
                  <c:v>72</c:v>
                </c:pt>
                <c:pt idx="80">
                  <c:v>43</c:v>
                </c:pt>
                <c:pt idx="81">
                  <c:v>27</c:v>
                </c:pt>
                <c:pt idx="82">
                  <c:v>35</c:v>
                </c:pt>
                <c:pt idx="83">
                  <c:v>27</c:v>
                </c:pt>
                <c:pt idx="84">
                  <c:v>15</c:v>
                </c:pt>
                <c:pt idx="85">
                  <c:v>13</c:v>
                </c:pt>
                <c:pt idx="86">
                  <c:v>42</c:v>
                </c:pt>
                <c:pt idx="87">
                  <c:v>33</c:v>
                </c:pt>
                <c:pt idx="88">
                  <c:v>28</c:v>
                </c:pt>
                <c:pt idx="89">
                  <c:v>22</c:v>
                </c:pt>
                <c:pt idx="90">
                  <c:v>37</c:v>
                </c:pt>
                <c:pt idx="91">
                  <c:v>21</c:v>
                </c:pt>
                <c:pt idx="92">
                  <c:v>10</c:v>
                </c:pt>
                <c:pt idx="93">
                  <c:v>35</c:v>
                </c:pt>
                <c:pt idx="94">
                  <c:v>28</c:v>
                </c:pt>
                <c:pt idx="95">
                  <c:v>33</c:v>
                </c:pt>
                <c:pt idx="96">
                  <c:v>26</c:v>
                </c:pt>
                <c:pt idx="97">
                  <c:v>34</c:v>
                </c:pt>
                <c:pt idx="98">
                  <c:v>18</c:v>
                </c:pt>
                <c:pt idx="99">
                  <c:v>24</c:v>
                </c:pt>
                <c:pt idx="100">
                  <c:v>36</c:v>
                </c:pt>
                <c:pt idx="101">
                  <c:v>26</c:v>
                </c:pt>
                <c:pt idx="102">
                  <c:v>27</c:v>
                </c:pt>
                <c:pt idx="103">
                  <c:v>14</c:v>
                </c:pt>
                <c:pt idx="104">
                  <c:v>39</c:v>
                </c:pt>
                <c:pt idx="105">
                  <c:v>15</c:v>
                </c:pt>
                <c:pt idx="106">
                  <c:v>6</c:v>
                </c:pt>
                <c:pt idx="107">
                  <c:v>30</c:v>
                </c:pt>
                <c:pt idx="108">
                  <c:v>41</c:v>
                </c:pt>
                <c:pt idx="109">
                  <c:v>21</c:v>
                </c:pt>
                <c:pt idx="110">
                  <c:v>5</c:v>
                </c:pt>
                <c:pt idx="111">
                  <c:v>21</c:v>
                </c:pt>
                <c:pt idx="112">
                  <c:v>18</c:v>
                </c:pt>
                <c:pt idx="113">
                  <c:v>19</c:v>
                </c:pt>
                <c:pt idx="114">
                  <c:v>21</c:v>
                </c:pt>
                <c:pt idx="115">
                  <c:v>45</c:v>
                </c:pt>
                <c:pt idx="116">
                  <c:v>25</c:v>
                </c:pt>
                <c:pt idx="117">
                  <c:v>36</c:v>
                </c:pt>
                <c:pt idx="118">
                  <c:v>19</c:v>
                </c:pt>
                <c:pt idx="119">
                  <c:v>14</c:v>
                </c:pt>
                <c:pt idx="120">
                  <c:v>5</c:v>
                </c:pt>
                <c:pt idx="121">
                  <c:v>32</c:v>
                </c:pt>
                <c:pt idx="122">
                  <c:v>31</c:v>
                </c:pt>
                <c:pt idx="123">
                  <c:v>36</c:v>
                </c:pt>
                <c:pt idx="124">
                  <c:v>40</c:v>
                </c:pt>
                <c:pt idx="125">
                  <c:v>35</c:v>
                </c:pt>
                <c:pt idx="126">
                  <c:v>16</c:v>
                </c:pt>
                <c:pt idx="127">
                  <c:v>8</c:v>
                </c:pt>
                <c:pt idx="128">
                  <c:v>54</c:v>
                </c:pt>
                <c:pt idx="129">
                  <c:v>26</c:v>
                </c:pt>
                <c:pt idx="130">
                  <c:v>22</c:v>
                </c:pt>
                <c:pt idx="131">
                  <c:v>13</c:v>
                </c:pt>
                <c:pt idx="132">
                  <c:v>20</c:v>
                </c:pt>
                <c:pt idx="133">
                  <c:v>12</c:v>
                </c:pt>
                <c:pt idx="134">
                  <c:v>15</c:v>
                </c:pt>
                <c:pt idx="135">
                  <c:v>30</c:v>
                </c:pt>
                <c:pt idx="136">
                  <c:v>25</c:v>
                </c:pt>
                <c:pt idx="137">
                  <c:v>38</c:v>
                </c:pt>
                <c:pt idx="138">
                  <c:v>23</c:v>
                </c:pt>
                <c:pt idx="139">
                  <c:v>22</c:v>
                </c:pt>
                <c:pt idx="140">
                  <c:v>7</c:v>
                </c:pt>
                <c:pt idx="141">
                  <c:v>10</c:v>
                </c:pt>
                <c:pt idx="142">
                  <c:v>21</c:v>
                </c:pt>
                <c:pt idx="143">
                  <c:v>12</c:v>
                </c:pt>
                <c:pt idx="144">
                  <c:v>21</c:v>
                </c:pt>
                <c:pt idx="145">
                  <c:v>11</c:v>
                </c:pt>
                <c:pt idx="146">
                  <c:v>8</c:v>
                </c:pt>
                <c:pt idx="147">
                  <c:v>10</c:v>
                </c:pt>
                <c:pt idx="148">
                  <c:v>7</c:v>
                </c:pt>
                <c:pt idx="149">
                  <c:v>23</c:v>
                </c:pt>
                <c:pt idx="150">
                  <c:v>20</c:v>
                </c:pt>
                <c:pt idx="151">
                  <c:v>14</c:v>
                </c:pt>
                <c:pt idx="152">
                  <c:v>20</c:v>
                </c:pt>
                <c:pt idx="153">
                  <c:v>15</c:v>
                </c:pt>
                <c:pt idx="154">
                  <c:v>6</c:v>
                </c:pt>
                <c:pt idx="155">
                  <c:v>5</c:v>
                </c:pt>
                <c:pt idx="156">
                  <c:v>14</c:v>
                </c:pt>
                <c:pt idx="157">
                  <c:v>15</c:v>
                </c:pt>
                <c:pt idx="158">
                  <c:v>16</c:v>
                </c:pt>
                <c:pt idx="159">
                  <c:v>11</c:v>
                </c:pt>
                <c:pt idx="160">
                  <c:v>14</c:v>
                </c:pt>
                <c:pt idx="161">
                  <c:v>2</c:v>
                </c:pt>
                <c:pt idx="162">
                  <c:v>3</c:v>
                </c:pt>
                <c:pt idx="163">
                  <c:v>8</c:v>
                </c:pt>
                <c:pt idx="164">
                  <c:v>7</c:v>
                </c:pt>
                <c:pt idx="165">
                  <c:v>7</c:v>
                </c:pt>
                <c:pt idx="166">
                  <c:v>9</c:v>
                </c:pt>
                <c:pt idx="167">
                  <c:v>6</c:v>
                </c:pt>
                <c:pt idx="168">
                  <c:v>10</c:v>
                </c:pt>
                <c:pt idx="169">
                  <c:v>3</c:v>
                </c:pt>
                <c:pt idx="170">
                  <c:v>21</c:v>
                </c:pt>
                <c:pt idx="171">
                  <c:v>15</c:v>
                </c:pt>
                <c:pt idx="172">
                  <c:v>8</c:v>
                </c:pt>
                <c:pt idx="173">
                  <c:v>11</c:v>
                </c:pt>
                <c:pt idx="174">
                  <c:v>8</c:v>
                </c:pt>
                <c:pt idx="175">
                  <c:v>4</c:v>
                </c:pt>
                <c:pt idx="176">
                  <c:v>1</c:v>
                </c:pt>
                <c:pt idx="177">
                  <c:v>10</c:v>
                </c:pt>
                <c:pt idx="178">
                  <c:v>7</c:v>
                </c:pt>
                <c:pt idx="179">
                  <c:v>8</c:v>
                </c:pt>
                <c:pt idx="180">
                  <c:v>5</c:v>
                </c:pt>
                <c:pt idx="181">
                  <c:v>8</c:v>
                </c:pt>
                <c:pt idx="182">
                  <c:v>2</c:v>
                </c:pt>
                <c:pt idx="183">
                  <c:v>3</c:v>
                </c:pt>
                <c:pt idx="184">
                  <c:v>6</c:v>
                </c:pt>
                <c:pt idx="185">
                  <c:v>8</c:v>
                </c:pt>
                <c:pt idx="186">
                  <c:v>10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3</c:v>
                </c:pt>
                <c:pt idx="191">
                  <c:v>9</c:v>
                </c:pt>
                <c:pt idx="192">
                  <c:v>9</c:v>
                </c:pt>
                <c:pt idx="193">
                  <c:v>2</c:v>
                </c:pt>
                <c:pt idx="194">
                  <c:v>8</c:v>
                </c:pt>
                <c:pt idx="195">
                  <c:v>11</c:v>
                </c:pt>
                <c:pt idx="196">
                  <c:v>3</c:v>
                </c:pt>
                <c:pt idx="197">
                  <c:v>2</c:v>
                </c:pt>
                <c:pt idx="198">
                  <c:v>5</c:v>
                </c:pt>
                <c:pt idx="199">
                  <c:v>7</c:v>
                </c:pt>
                <c:pt idx="200">
                  <c:v>3</c:v>
                </c:pt>
                <c:pt idx="201">
                  <c:v>2</c:v>
                </c:pt>
                <c:pt idx="202">
                  <c:v>1</c:v>
                </c:pt>
                <c:pt idx="203">
                  <c:v>2</c:v>
                </c:pt>
                <c:pt idx="204">
                  <c:v>0</c:v>
                </c:pt>
                <c:pt idx="205">
                  <c:v>2</c:v>
                </c:pt>
                <c:pt idx="206">
                  <c:v>1</c:v>
                </c:pt>
                <c:pt idx="207">
                  <c:v>2</c:v>
                </c:pt>
                <c:pt idx="208">
                  <c:v>2</c:v>
                </c:pt>
                <c:pt idx="209">
                  <c:v>1</c:v>
                </c:pt>
                <c:pt idx="210">
                  <c:v>3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5</c:v>
                </c:pt>
                <c:pt idx="215">
                  <c:v>0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1</c:v>
                </c:pt>
                <c:pt idx="220">
                  <c:v>3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1</c:v>
                </c:pt>
                <c:pt idx="227">
                  <c:v>1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0</c:v>
                </c:pt>
                <c:pt idx="232">
                  <c:v>0</c:v>
                </c:pt>
                <c:pt idx="233">
                  <c:v>4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2</c:v>
                </c:pt>
                <c:pt idx="239">
                  <c:v>0</c:v>
                </c:pt>
                <c:pt idx="240">
                  <c:v>1</c:v>
                </c:pt>
                <c:pt idx="241">
                  <c:v>0</c:v>
                </c:pt>
                <c:pt idx="242">
                  <c:v>1</c:v>
                </c:pt>
                <c:pt idx="243">
                  <c:v>0</c:v>
                </c:pt>
                <c:pt idx="244">
                  <c:v>2</c:v>
                </c:pt>
                <c:pt idx="245">
                  <c:v>3</c:v>
                </c:pt>
                <c:pt idx="246">
                  <c:v>1</c:v>
                </c:pt>
                <c:pt idx="247">
                  <c:v>2</c:v>
                </c:pt>
                <c:pt idx="248">
                  <c:v>2</c:v>
                </c:pt>
                <c:pt idx="249">
                  <c:v>1</c:v>
                </c:pt>
                <c:pt idx="250">
                  <c:v>1</c:v>
                </c:pt>
                <c:pt idx="251">
                  <c:v>0</c:v>
                </c:pt>
                <c:pt idx="252">
                  <c:v>2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2</c:v>
                </c:pt>
                <c:pt idx="260">
                  <c:v>1</c:v>
                </c:pt>
                <c:pt idx="261">
                  <c:v>0</c:v>
                </c:pt>
                <c:pt idx="262">
                  <c:v>1</c:v>
                </c:pt>
                <c:pt idx="263">
                  <c:v>1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1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1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2</c:v>
                </c:pt>
                <c:pt idx="284">
                  <c:v>2</c:v>
                </c:pt>
                <c:pt idx="285">
                  <c:v>1</c:v>
                </c:pt>
                <c:pt idx="286">
                  <c:v>0</c:v>
                </c:pt>
                <c:pt idx="287">
                  <c:v>2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2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1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3</c:v>
                </c:pt>
                <c:pt idx="310">
                  <c:v>1</c:v>
                </c:pt>
                <c:pt idx="311">
                  <c:v>2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3</c:v>
                </c:pt>
                <c:pt idx="316">
                  <c:v>1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4</c:v>
                </c:pt>
                <c:pt idx="321">
                  <c:v>0</c:v>
                </c:pt>
                <c:pt idx="322">
                  <c:v>1</c:v>
                </c:pt>
                <c:pt idx="323">
                  <c:v>0</c:v>
                </c:pt>
                <c:pt idx="324">
                  <c:v>2</c:v>
                </c:pt>
                <c:pt idx="325">
                  <c:v>0</c:v>
                </c:pt>
                <c:pt idx="326">
                  <c:v>0</c:v>
                </c:pt>
                <c:pt idx="327">
                  <c:v>4</c:v>
                </c:pt>
                <c:pt idx="328">
                  <c:v>2</c:v>
                </c:pt>
                <c:pt idx="329">
                  <c:v>2</c:v>
                </c:pt>
                <c:pt idx="330">
                  <c:v>0</c:v>
                </c:pt>
                <c:pt idx="331">
                  <c:v>5</c:v>
                </c:pt>
                <c:pt idx="332">
                  <c:v>3</c:v>
                </c:pt>
                <c:pt idx="333">
                  <c:v>2</c:v>
                </c:pt>
                <c:pt idx="334">
                  <c:v>9</c:v>
                </c:pt>
                <c:pt idx="335">
                  <c:v>6</c:v>
                </c:pt>
                <c:pt idx="336">
                  <c:v>5</c:v>
                </c:pt>
                <c:pt idx="337">
                  <c:v>3</c:v>
                </c:pt>
                <c:pt idx="338">
                  <c:v>6</c:v>
                </c:pt>
                <c:pt idx="339">
                  <c:v>1</c:v>
                </c:pt>
                <c:pt idx="340">
                  <c:v>1</c:v>
                </c:pt>
                <c:pt idx="341">
                  <c:v>5</c:v>
                </c:pt>
                <c:pt idx="342">
                  <c:v>7</c:v>
                </c:pt>
                <c:pt idx="343">
                  <c:v>4</c:v>
                </c:pt>
                <c:pt idx="344">
                  <c:v>6</c:v>
                </c:pt>
                <c:pt idx="345">
                  <c:v>2</c:v>
                </c:pt>
                <c:pt idx="346">
                  <c:v>5</c:v>
                </c:pt>
                <c:pt idx="347">
                  <c:v>2</c:v>
                </c:pt>
                <c:pt idx="348">
                  <c:v>7</c:v>
                </c:pt>
                <c:pt idx="349">
                  <c:v>7</c:v>
                </c:pt>
                <c:pt idx="350">
                  <c:v>6</c:v>
                </c:pt>
                <c:pt idx="351">
                  <c:v>12</c:v>
                </c:pt>
                <c:pt idx="352">
                  <c:v>7</c:v>
                </c:pt>
                <c:pt idx="353">
                  <c:v>3</c:v>
                </c:pt>
                <c:pt idx="354">
                  <c:v>3</c:v>
                </c:pt>
                <c:pt idx="355">
                  <c:v>12</c:v>
                </c:pt>
                <c:pt idx="356">
                  <c:v>5</c:v>
                </c:pt>
                <c:pt idx="357">
                  <c:v>16</c:v>
                </c:pt>
                <c:pt idx="358">
                  <c:v>3</c:v>
                </c:pt>
                <c:pt idx="359">
                  <c:v>8</c:v>
                </c:pt>
                <c:pt idx="360">
                  <c:v>1</c:v>
                </c:pt>
                <c:pt idx="361">
                  <c:v>3</c:v>
                </c:pt>
                <c:pt idx="362">
                  <c:v>8</c:v>
                </c:pt>
                <c:pt idx="363">
                  <c:v>4</c:v>
                </c:pt>
                <c:pt idx="364">
                  <c:v>7</c:v>
                </c:pt>
                <c:pt idx="365">
                  <c:v>6</c:v>
                </c:pt>
                <c:pt idx="366">
                  <c:v>4</c:v>
                </c:pt>
                <c:pt idx="367">
                  <c:v>5</c:v>
                </c:pt>
                <c:pt idx="368">
                  <c:v>3</c:v>
                </c:pt>
                <c:pt idx="369">
                  <c:v>9</c:v>
                </c:pt>
                <c:pt idx="370">
                  <c:v>2</c:v>
                </c:pt>
                <c:pt idx="371">
                  <c:v>6</c:v>
                </c:pt>
                <c:pt idx="372">
                  <c:v>5</c:v>
                </c:pt>
                <c:pt idx="373">
                  <c:v>6</c:v>
                </c:pt>
                <c:pt idx="374">
                  <c:v>2</c:v>
                </c:pt>
                <c:pt idx="375">
                  <c:v>0</c:v>
                </c:pt>
                <c:pt idx="376">
                  <c:v>5</c:v>
                </c:pt>
                <c:pt idx="377">
                  <c:v>2</c:v>
                </c:pt>
                <c:pt idx="378">
                  <c:v>1</c:v>
                </c:pt>
                <c:pt idx="379">
                  <c:v>3</c:v>
                </c:pt>
                <c:pt idx="380">
                  <c:v>3</c:v>
                </c:pt>
                <c:pt idx="381">
                  <c:v>0</c:v>
                </c:pt>
                <c:pt idx="382">
                  <c:v>1</c:v>
                </c:pt>
                <c:pt idx="383">
                  <c:v>6</c:v>
                </c:pt>
                <c:pt idx="384">
                  <c:v>3</c:v>
                </c:pt>
                <c:pt idx="385">
                  <c:v>3</c:v>
                </c:pt>
                <c:pt idx="386">
                  <c:v>1</c:v>
                </c:pt>
                <c:pt idx="387">
                  <c:v>0</c:v>
                </c:pt>
                <c:pt idx="388">
                  <c:v>1</c:v>
                </c:pt>
                <c:pt idx="389">
                  <c:v>0</c:v>
                </c:pt>
                <c:pt idx="390">
                  <c:v>3</c:v>
                </c:pt>
                <c:pt idx="391">
                  <c:v>3</c:v>
                </c:pt>
                <c:pt idx="392">
                  <c:v>3</c:v>
                </c:pt>
                <c:pt idx="393">
                  <c:v>0</c:v>
                </c:pt>
                <c:pt idx="394">
                  <c:v>3</c:v>
                </c:pt>
                <c:pt idx="395">
                  <c:v>1</c:v>
                </c:pt>
                <c:pt idx="396">
                  <c:v>0</c:v>
                </c:pt>
                <c:pt idx="397">
                  <c:v>3</c:v>
                </c:pt>
                <c:pt idx="398">
                  <c:v>1</c:v>
                </c:pt>
                <c:pt idx="399">
                  <c:v>2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1</c:v>
                </c:pt>
                <c:pt idx="404">
                  <c:v>2</c:v>
                </c:pt>
                <c:pt idx="405">
                  <c:v>0</c:v>
                </c:pt>
                <c:pt idx="406">
                  <c:v>1</c:v>
                </c:pt>
                <c:pt idx="407">
                  <c:v>1</c:v>
                </c:pt>
                <c:pt idx="408">
                  <c:v>5</c:v>
                </c:pt>
                <c:pt idx="409">
                  <c:v>0</c:v>
                </c:pt>
                <c:pt idx="410">
                  <c:v>2</c:v>
                </c:pt>
                <c:pt idx="411">
                  <c:v>1</c:v>
                </c:pt>
                <c:pt idx="412">
                  <c:v>5</c:v>
                </c:pt>
                <c:pt idx="413">
                  <c:v>1</c:v>
                </c:pt>
                <c:pt idx="414">
                  <c:v>2</c:v>
                </c:pt>
                <c:pt idx="415">
                  <c:v>2</c:v>
                </c:pt>
                <c:pt idx="416">
                  <c:v>0</c:v>
                </c:pt>
                <c:pt idx="417">
                  <c:v>1</c:v>
                </c:pt>
                <c:pt idx="418">
                  <c:v>9</c:v>
                </c:pt>
                <c:pt idx="419">
                  <c:v>7</c:v>
                </c:pt>
                <c:pt idx="420">
                  <c:v>8</c:v>
                </c:pt>
                <c:pt idx="421">
                  <c:v>3</c:v>
                </c:pt>
                <c:pt idx="422">
                  <c:v>3</c:v>
                </c:pt>
                <c:pt idx="423">
                  <c:v>2</c:v>
                </c:pt>
                <c:pt idx="424">
                  <c:v>2</c:v>
                </c:pt>
                <c:pt idx="425">
                  <c:v>2</c:v>
                </c:pt>
                <c:pt idx="426">
                  <c:v>5</c:v>
                </c:pt>
                <c:pt idx="427">
                  <c:v>2</c:v>
                </c:pt>
                <c:pt idx="428">
                  <c:v>5</c:v>
                </c:pt>
                <c:pt idx="42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30</c:f>
              <c:numCache>
                <c:formatCode>m/d/yyyy</c:formatCode>
                <c:ptCount val="429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37</c:v>
                </c:pt>
                <c:pt idx="254">
                  <c:v>44340</c:v>
                </c:pt>
                <c:pt idx="255">
                  <c:v>44341</c:v>
                </c:pt>
                <c:pt idx="256">
                  <c:v>44342</c:v>
                </c:pt>
                <c:pt idx="257">
                  <c:v>44343</c:v>
                </c:pt>
                <c:pt idx="258">
                  <c:v>44349</c:v>
                </c:pt>
                <c:pt idx="259">
                  <c:v>44350</c:v>
                </c:pt>
                <c:pt idx="260">
                  <c:v>44358</c:v>
                </c:pt>
                <c:pt idx="261">
                  <c:v>44364</c:v>
                </c:pt>
                <c:pt idx="262">
                  <c:v>44370</c:v>
                </c:pt>
                <c:pt idx="263">
                  <c:v>44371</c:v>
                </c:pt>
                <c:pt idx="264">
                  <c:v>44377</c:v>
                </c:pt>
                <c:pt idx="265">
                  <c:v>44378</c:v>
                </c:pt>
                <c:pt idx="266">
                  <c:v>44381</c:v>
                </c:pt>
                <c:pt idx="267">
                  <c:v>44385</c:v>
                </c:pt>
                <c:pt idx="268">
                  <c:v>44388</c:v>
                </c:pt>
                <c:pt idx="269">
                  <c:v>44398</c:v>
                </c:pt>
                <c:pt idx="270">
                  <c:v>44401</c:v>
                </c:pt>
                <c:pt idx="271">
                  <c:v>44404</c:v>
                </c:pt>
                <c:pt idx="272">
                  <c:v>44405</c:v>
                </c:pt>
                <c:pt idx="273">
                  <c:v>44416</c:v>
                </c:pt>
                <c:pt idx="274">
                  <c:v>44419</c:v>
                </c:pt>
                <c:pt idx="275">
                  <c:v>44424</c:v>
                </c:pt>
                <c:pt idx="276">
                  <c:v>44425</c:v>
                </c:pt>
                <c:pt idx="277">
                  <c:v>44427</c:v>
                </c:pt>
                <c:pt idx="278">
                  <c:v>44431</c:v>
                </c:pt>
                <c:pt idx="279">
                  <c:v>44434</c:v>
                </c:pt>
                <c:pt idx="280">
                  <c:v>44435</c:v>
                </c:pt>
                <c:pt idx="281">
                  <c:v>44436</c:v>
                </c:pt>
                <c:pt idx="282">
                  <c:v>44440</c:v>
                </c:pt>
                <c:pt idx="283">
                  <c:v>44441</c:v>
                </c:pt>
                <c:pt idx="284">
                  <c:v>44442</c:v>
                </c:pt>
                <c:pt idx="285">
                  <c:v>44443</c:v>
                </c:pt>
                <c:pt idx="286">
                  <c:v>44445</c:v>
                </c:pt>
                <c:pt idx="287">
                  <c:v>44446</c:v>
                </c:pt>
                <c:pt idx="288">
                  <c:v>44447</c:v>
                </c:pt>
                <c:pt idx="289">
                  <c:v>44448</c:v>
                </c:pt>
                <c:pt idx="290">
                  <c:v>44451</c:v>
                </c:pt>
                <c:pt idx="291">
                  <c:v>44452</c:v>
                </c:pt>
                <c:pt idx="292">
                  <c:v>44453</c:v>
                </c:pt>
                <c:pt idx="293">
                  <c:v>44457</c:v>
                </c:pt>
                <c:pt idx="294">
                  <c:v>44459</c:v>
                </c:pt>
                <c:pt idx="295">
                  <c:v>44460</c:v>
                </c:pt>
                <c:pt idx="296">
                  <c:v>44461</c:v>
                </c:pt>
                <c:pt idx="297">
                  <c:v>44464</c:v>
                </c:pt>
                <c:pt idx="298">
                  <c:v>44465</c:v>
                </c:pt>
                <c:pt idx="299">
                  <c:v>44466</c:v>
                </c:pt>
                <c:pt idx="300">
                  <c:v>44467</c:v>
                </c:pt>
                <c:pt idx="301">
                  <c:v>44468</c:v>
                </c:pt>
                <c:pt idx="302">
                  <c:v>44469</c:v>
                </c:pt>
                <c:pt idx="303">
                  <c:v>44470</c:v>
                </c:pt>
                <c:pt idx="304">
                  <c:v>44471</c:v>
                </c:pt>
                <c:pt idx="305">
                  <c:v>44472</c:v>
                </c:pt>
                <c:pt idx="306">
                  <c:v>44473</c:v>
                </c:pt>
                <c:pt idx="307">
                  <c:v>44474</c:v>
                </c:pt>
                <c:pt idx="308">
                  <c:v>44475</c:v>
                </c:pt>
                <c:pt idx="309">
                  <c:v>44476</c:v>
                </c:pt>
                <c:pt idx="310">
                  <c:v>44477</c:v>
                </c:pt>
                <c:pt idx="311">
                  <c:v>44478</c:v>
                </c:pt>
                <c:pt idx="312">
                  <c:v>44480</c:v>
                </c:pt>
                <c:pt idx="313">
                  <c:v>44481</c:v>
                </c:pt>
                <c:pt idx="314">
                  <c:v>44482</c:v>
                </c:pt>
                <c:pt idx="315">
                  <c:v>44483</c:v>
                </c:pt>
                <c:pt idx="316">
                  <c:v>44484</c:v>
                </c:pt>
                <c:pt idx="317">
                  <c:v>44485</c:v>
                </c:pt>
                <c:pt idx="318">
                  <c:v>44486</c:v>
                </c:pt>
                <c:pt idx="319">
                  <c:v>44487</c:v>
                </c:pt>
                <c:pt idx="320">
                  <c:v>44488</c:v>
                </c:pt>
                <c:pt idx="321">
                  <c:v>44489</c:v>
                </c:pt>
                <c:pt idx="322">
                  <c:v>44490</c:v>
                </c:pt>
                <c:pt idx="323">
                  <c:v>44491</c:v>
                </c:pt>
                <c:pt idx="324">
                  <c:v>44492</c:v>
                </c:pt>
                <c:pt idx="325">
                  <c:v>44493</c:v>
                </c:pt>
                <c:pt idx="326">
                  <c:v>44494</c:v>
                </c:pt>
                <c:pt idx="327">
                  <c:v>44495</c:v>
                </c:pt>
                <c:pt idx="328">
                  <c:v>44496</c:v>
                </c:pt>
                <c:pt idx="329">
                  <c:v>44497</c:v>
                </c:pt>
                <c:pt idx="330">
                  <c:v>44498</c:v>
                </c:pt>
                <c:pt idx="331">
                  <c:v>44499</c:v>
                </c:pt>
                <c:pt idx="332">
                  <c:v>44500</c:v>
                </c:pt>
                <c:pt idx="333">
                  <c:v>44501</c:v>
                </c:pt>
                <c:pt idx="334">
                  <c:v>44502</c:v>
                </c:pt>
                <c:pt idx="335">
                  <c:v>44503</c:v>
                </c:pt>
                <c:pt idx="336">
                  <c:v>44504</c:v>
                </c:pt>
                <c:pt idx="337">
                  <c:v>44505</c:v>
                </c:pt>
                <c:pt idx="338">
                  <c:v>44506</c:v>
                </c:pt>
                <c:pt idx="339">
                  <c:v>44507</c:v>
                </c:pt>
                <c:pt idx="340">
                  <c:v>44508</c:v>
                </c:pt>
                <c:pt idx="341">
                  <c:v>44509</c:v>
                </c:pt>
                <c:pt idx="342">
                  <c:v>44510</c:v>
                </c:pt>
                <c:pt idx="343">
                  <c:v>44511</c:v>
                </c:pt>
                <c:pt idx="344">
                  <c:v>44512</c:v>
                </c:pt>
                <c:pt idx="345">
                  <c:v>44513</c:v>
                </c:pt>
                <c:pt idx="346">
                  <c:v>44514</c:v>
                </c:pt>
                <c:pt idx="347">
                  <c:v>44515</c:v>
                </c:pt>
                <c:pt idx="348">
                  <c:v>44516</c:v>
                </c:pt>
                <c:pt idx="349">
                  <c:v>44517</c:v>
                </c:pt>
                <c:pt idx="350">
                  <c:v>44518</c:v>
                </c:pt>
                <c:pt idx="351">
                  <c:v>44519</c:v>
                </c:pt>
                <c:pt idx="352">
                  <c:v>44520</c:v>
                </c:pt>
                <c:pt idx="353">
                  <c:v>44521</c:v>
                </c:pt>
                <c:pt idx="354">
                  <c:v>44522</c:v>
                </c:pt>
                <c:pt idx="355">
                  <c:v>44523</c:v>
                </c:pt>
                <c:pt idx="356">
                  <c:v>44524</c:v>
                </c:pt>
                <c:pt idx="357">
                  <c:v>44525</c:v>
                </c:pt>
                <c:pt idx="358">
                  <c:v>44526</c:v>
                </c:pt>
                <c:pt idx="359">
                  <c:v>44527</c:v>
                </c:pt>
                <c:pt idx="360">
                  <c:v>44528</c:v>
                </c:pt>
                <c:pt idx="361">
                  <c:v>44529</c:v>
                </c:pt>
                <c:pt idx="362">
                  <c:v>44530</c:v>
                </c:pt>
                <c:pt idx="363">
                  <c:v>44531</c:v>
                </c:pt>
                <c:pt idx="364">
                  <c:v>44532</c:v>
                </c:pt>
                <c:pt idx="365">
                  <c:v>44533</c:v>
                </c:pt>
                <c:pt idx="366">
                  <c:v>44534</c:v>
                </c:pt>
                <c:pt idx="367">
                  <c:v>44535</c:v>
                </c:pt>
                <c:pt idx="368">
                  <c:v>44536</c:v>
                </c:pt>
                <c:pt idx="369">
                  <c:v>44537</c:v>
                </c:pt>
                <c:pt idx="370">
                  <c:v>44538</c:v>
                </c:pt>
                <c:pt idx="371">
                  <c:v>44539</c:v>
                </c:pt>
                <c:pt idx="372">
                  <c:v>44540</c:v>
                </c:pt>
                <c:pt idx="373">
                  <c:v>44541</c:v>
                </c:pt>
                <c:pt idx="374">
                  <c:v>44542</c:v>
                </c:pt>
                <c:pt idx="375">
                  <c:v>44543</c:v>
                </c:pt>
                <c:pt idx="376">
                  <c:v>44544</c:v>
                </c:pt>
                <c:pt idx="377">
                  <c:v>44545</c:v>
                </c:pt>
                <c:pt idx="378">
                  <c:v>44546</c:v>
                </c:pt>
                <c:pt idx="379">
                  <c:v>44547</c:v>
                </c:pt>
                <c:pt idx="380">
                  <c:v>44548</c:v>
                </c:pt>
                <c:pt idx="381">
                  <c:v>44549</c:v>
                </c:pt>
                <c:pt idx="382">
                  <c:v>44550</c:v>
                </c:pt>
                <c:pt idx="383">
                  <c:v>44551</c:v>
                </c:pt>
                <c:pt idx="384">
                  <c:v>44552</c:v>
                </c:pt>
                <c:pt idx="385">
                  <c:v>44553</c:v>
                </c:pt>
                <c:pt idx="386">
                  <c:v>44554</c:v>
                </c:pt>
                <c:pt idx="387">
                  <c:v>44555</c:v>
                </c:pt>
                <c:pt idx="388">
                  <c:v>44556</c:v>
                </c:pt>
                <c:pt idx="389">
                  <c:v>44557</c:v>
                </c:pt>
                <c:pt idx="390">
                  <c:v>44558</c:v>
                </c:pt>
                <c:pt idx="391">
                  <c:v>44559</c:v>
                </c:pt>
                <c:pt idx="392">
                  <c:v>44560</c:v>
                </c:pt>
                <c:pt idx="393">
                  <c:v>44561</c:v>
                </c:pt>
                <c:pt idx="394">
                  <c:v>44562</c:v>
                </c:pt>
                <c:pt idx="395">
                  <c:v>44563</c:v>
                </c:pt>
                <c:pt idx="396">
                  <c:v>44564</c:v>
                </c:pt>
                <c:pt idx="397">
                  <c:v>44565</c:v>
                </c:pt>
                <c:pt idx="398">
                  <c:v>44566</c:v>
                </c:pt>
                <c:pt idx="399">
                  <c:v>44567</c:v>
                </c:pt>
                <c:pt idx="400">
                  <c:v>44568</c:v>
                </c:pt>
                <c:pt idx="401">
                  <c:v>44569</c:v>
                </c:pt>
                <c:pt idx="402">
                  <c:v>44570</c:v>
                </c:pt>
                <c:pt idx="403">
                  <c:v>44571</c:v>
                </c:pt>
                <c:pt idx="404">
                  <c:v>44572</c:v>
                </c:pt>
                <c:pt idx="405">
                  <c:v>44573</c:v>
                </c:pt>
                <c:pt idx="406">
                  <c:v>44574</c:v>
                </c:pt>
                <c:pt idx="407">
                  <c:v>44575</c:v>
                </c:pt>
                <c:pt idx="408">
                  <c:v>44576</c:v>
                </c:pt>
                <c:pt idx="409">
                  <c:v>44577</c:v>
                </c:pt>
                <c:pt idx="410">
                  <c:v>44578</c:v>
                </c:pt>
                <c:pt idx="411">
                  <c:v>44579</c:v>
                </c:pt>
                <c:pt idx="412">
                  <c:v>44580</c:v>
                </c:pt>
                <c:pt idx="413">
                  <c:v>44581</c:v>
                </c:pt>
                <c:pt idx="414">
                  <c:v>44582</c:v>
                </c:pt>
                <c:pt idx="415">
                  <c:v>44583</c:v>
                </c:pt>
                <c:pt idx="416">
                  <c:v>44584</c:v>
                </c:pt>
                <c:pt idx="417">
                  <c:v>44585</c:v>
                </c:pt>
                <c:pt idx="418">
                  <c:v>44586</c:v>
                </c:pt>
                <c:pt idx="419">
                  <c:v>44587</c:v>
                </c:pt>
                <c:pt idx="420">
                  <c:v>44588</c:v>
                </c:pt>
                <c:pt idx="421">
                  <c:v>44589</c:v>
                </c:pt>
                <c:pt idx="422">
                  <c:v>44590</c:v>
                </c:pt>
                <c:pt idx="423">
                  <c:v>44591</c:v>
                </c:pt>
                <c:pt idx="424">
                  <c:v>44592</c:v>
                </c:pt>
                <c:pt idx="425">
                  <c:v>44593</c:v>
                </c:pt>
                <c:pt idx="426">
                  <c:v>44594</c:v>
                </c:pt>
                <c:pt idx="427">
                  <c:v>44595</c:v>
                </c:pt>
                <c:pt idx="428">
                  <c:v>44596</c:v>
                </c:pt>
              </c:numCache>
            </c:numRef>
          </c:cat>
          <c:val>
            <c:numRef>
              <c:f>Sheet1!$B$2:$B$430</c:f>
              <c:numCache>
                <c:formatCode>General</c:formatCode>
                <c:ptCount val="42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3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5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4</c:v>
                </c:pt>
                <c:pt idx="45">
                  <c:v>21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7</c:v>
                </c:pt>
                <c:pt idx="50">
                  <c:v>28</c:v>
                </c:pt>
                <c:pt idx="51">
                  <c:v>19</c:v>
                </c:pt>
                <c:pt idx="52">
                  <c:v>11</c:v>
                </c:pt>
                <c:pt idx="53">
                  <c:v>20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2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6</c:v>
                </c:pt>
                <c:pt idx="64">
                  <c:v>10</c:v>
                </c:pt>
                <c:pt idx="65">
                  <c:v>16</c:v>
                </c:pt>
                <c:pt idx="66">
                  <c:v>24</c:v>
                </c:pt>
                <c:pt idx="67">
                  <c:v>14</c:v>
                </c:pt>
                <c:pt idx="68">
                  <c:v>19</c:v>
                </c:pt>
                <c:pt idx="69">
                  <c:v>9</c:v>
                </c:pt>
                <c:pt idx="70">
                  <c:v>5</c:v>
                </c:pt>
                <c:pt idx="71">
                  <c:v>18</c:v>
                </c:pt>
                <c:pt idx="72">
                  <c:v>9</c:v>
                </c:pt>
                <c:pt idx="73">
                  <c:v>12</c:v>
                </c:pt>
                <c:pt idx="74">
                  <c:v>12</c:v>
                </c:pt>
                <c:pt idx="75">
                  <c:v>13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9</c:v>
                </c:pt>
                <c:pt idx="81">
                  <c:v>9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2</c:v>
                </c:pt>
                <c:pt idx="89">
                  <c:v>8</c:v>
                </c:pt>
                <c:pt idx="90">
                  <c:v>3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6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3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4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7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5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7</c:v>
                </c:pt>
                <c:pt idx="142">
                  <c:v>1</c:v>
                </c:pt>
                <c:pt idx="143">
                  <c:v>2</c:v>
                </c:pt>
                <c:pt idx="144">
                  <c:v>2</c:v>
                </c:pt>
                <c:pt idx="145">
                  <c:v>1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4</c:v>
                </c:pt>
                <c:pt idx="154">
                  <c:v>1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0</c:v>
                </c:pt>
                <c:pt idx="169">
                  <c:v>1</c:v>
                </c:pt>
                <c:pt idx="170">
                  <c:v>4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3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0</c:v>
                </c:pt>
                <c:pt idx="191">
                  <c:v>2</c:v>
                </c:pt>
                <c:pt idx="192">
                  <c:v>1</c:v>
                </c:pt>
                <c:pt idx="193">
                  <c:v>3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1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1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2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1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1</c:v>
                </c:pt>
                <c:pt idx="309">
                  <c:v>1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1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3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1</c:v>
                </c:pt>
                <c:pt idx="331">
                  <c:v>0</c:v>
                </c:pt>
                <c:pt idx="332">
                  <c:v>1</c:v>
                </c:pt>
                <c:pt idx="333">
                  <c:v>2</c:v>
                </c:pt>
                <c:pt idx="334">
                  <c:v>1</c:v>
                </c:pt>
                <c:pt idx="335">
                  <c:v>1</c:v>
                </c:pt>
                <c:pt idx="336">
                  <c:v>0</c:v>
                </c:pt>
                <c:pt idx="337">
                  <c:v>1</c:v>
                </c:pt>
                <c:pt idx="338">
                  <c:v>0</c:v>
                </c:pt>
                <c:pt idx="339">
                  <c:v>1</c:v>
                </c:pt>
                <c:pt idx="340">
                  <c:v>0</c:v>
                </c:pt>
                <c:pt idx="341">
                  <c:v>3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2</c:v>
                </c:pt>
                <c:pt idx="346">
                  <c:v>2</c:v>
                </c:pt>
                <c:pt idx="347">
                  <c:v>1</c:v>
                </c:pt>
                <c:pt idx="348">
                  <c:v>1</c:v>
                </c:pt>
                <c:pt idx="349">
                  <c:v>0</c:v>
                </c:pt>
                <c:pt idx="350">
                  <c:v>6</c:v>
                </c:pt>
                <c:pt idx="351">
                  <c:v>3</c:v>
                </c:pt>
                <c:pt idx="352">
                  <c:v>1</c:v>
                </c:pt>
                <c:pt idx="353">
                  <c:v>2</c:v>
                </c:pt>
                <c:pt idx="354">
                  <c:v>2</c:v>
                </c:pt>
                <c:pt idx="355">
                  <c:v>0</c:v>
                </c:pt>
                <c:pt idx="356">
                  <c:v>5</c:v>
                </c:pt>
                <c:pt idx="357">
                  <c:v>0</c:v>
                </c:pt>
                <c:pt idx="358">
                  <c:v>1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1</c:v>
                </c:pt>
                <c:pt idx="365">
                  <c:v>0</c:v>
                </c:pt>
                <c:pt idx="366">
                  <c:v>0</c:v>
                </c:pt>
                <c:pt idx="367">
                  <c:v>1</c:v>
                </c:pt>
                <c:pt idx="368">
                  <c:v>1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1</c:v>
                </c:pt>
                <c:pt idx="380">
                  <c:v>0</c:v>
                </c:pt>
                <c:pt idx="381">
                  <c:v>0</c:v>
                </c:pt>
                <c:pt idx="382">
                  <c:v>2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1</c:v>
                </c:pt>
                <c:pt idx="397">
                  <c:v>0</c:v>
                </c:pt>
                <c:pt idx="398">
                  <c:v>1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1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3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3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1</c:v>
                </c:pt>
                <c:pt idx="425">
                  <c:v>2</c:v>
                </c:pt>
                <c:pt idx="426">
                  <c:v>0</c:v>
                </c:pt>
                <c:pt idx="427">
                  <c:v>1</c:v>
                </c:pt>
                <c:pt idx="42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5</c:v>
                </c:pt>
                <c:pt idx="1">
                  <c:v>173</c:v>
                </c:pt>
                <c:pt idx="2">
                  <c:v>106</c:v>
                </c:pt>
                <c:pt idx="3">
                  <c:v>70</c:v>
                </c:pt>
                <c:pt idx="4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4</c:v>
                </c:pt>
                <c:pt idx="1">
                  <c:v>46</c:v>
                </c:pt>
                <c:pt idx="2">
                  <c:v>28</c:v>
                </c:pt>
                <c:pt idx="3">
                  <c:v>222</c:v>
                </c:pt>
                <c:pt idx="4">
                  <c:v>164</c:v>
                </c:pt>
                <c:pt idx="5">
                  <c:v>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80899612484871</c:v>
                </c:pt>
                <c:pt idx="1">
                  <c:v>0.18191003875151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explosion val="1"/>
          <c:dPt>
            <c:idx val="0"/>
            <c:bubble3D val="0"/>
            <c:explosion val="3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4543578760414764</c:v>
                </c:pt>
                <c:pt idx="1">
                  <c:v>0.254564212395852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2301469276069232</c:v>
                </c:pt>
                <c:pt idx="1">
                  <c:v>0.37698530723930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68819619240985141</c:v>
                </c:pt>
                <c:pt idx="1">
                  <c:v>0.311803807590148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5.02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9.xml"/><Relationship Id="rId5" Type="http://schemas.openxmlformats.org/officeDocument/2006/relationships/tags" Target="../tags/tag15.xml"/><Relationship Id="rId10" Type="http://schemas.openxmlformats.org/officeDocument/2006/relationships/chart" Target="../charts/chart8.xml"/><Relationship Id="rId4" Type="http://schemas.openxmlformats.org/officeDocument/2006/relationships/tags" Target="../tags/tag14.xml"/><Relationship Id="rId9" Type="http://schemas.openxmlformats.org/officeDocument/2006/relationships/chart" Target="../charts/char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1.xml"/><Relationship Id="rId5" Type="http://schemas.openxmlformats.org/officeDocument/2006/relationships/tags" Target="../tags/tag22.xml"/><Relationship Id="rId10" Type="http://schemas.openxmlformats.org/officeDocument/2006/relationships/chart" Target="../charts/chart10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chart" Target="../charts/chart2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– 31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266196"/>
              </p:ext>
            </p:extLst>
          </p:nvPr>
        </p:nvGraphicFramePr>
        <p:xfrm>
          <a:off x="1372685" y="1009673"/>
          <a:ext cx="9684753" cy="53816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19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612077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835001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31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0134963"/>
              </p:ext>
            </p:extLst>
          </p:nvPr>
        </p:nvGraphicFramePr>
        <p:xfrm>
          <a:off x="1372685" y="1009672"/>
          <a:ext cx="9684753" cy="550316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85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s.Zdisl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Ludmil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Vlašs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ouse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chy Kůs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AMICA 3 -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ršovická zdravotní, rehabilita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ALMEZ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írenská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Vrchlab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zrakově postižené Palata, Praha 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ETRA Mačk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Svit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Hedviky Kravař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 Mnichovo Hradiště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DS Máj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58551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6 -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AVOROVA K. VARY -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8843817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ZBOROVICE21 K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509063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OTROK21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85755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Zahradní město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Louck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k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9750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5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5. 2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690330"/>
              </p:ext>
            </p:extLst>
          </p:nvPr>
        </p:nvGraphicFramePr>
        <p:xfrm>
          <a:off x="1372685" y="1009673"/>
          <a:ext cx="9684753" cy="328609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565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Hagibor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Česká J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áchova Prah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becura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KUN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ELEHRAD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DĚJE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centrum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 zvláštním režim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218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rbno p.P., Mnichov 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00367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04486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5 000 nakažených klientů a více než 19 000 nakažených pracovníků. Hlášení o úmrtích COVID pozitivních klientů přesáhlo 3 400, pracovníků zemřelo 21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237830" y="2483419"/>
            <a:ext cx="1168747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67 nákaz pracovníků a 825 nákaz klientů pobytových sociálních služeb. Počet hlášených úmrtí klientů dosáhnul v listopadu hodnoty 112. Ačkoli šlo o výrazný nárůst, stále se jednalo o počty významně nižší než v zimních až jarních měsících 2021. Za prosinec bylo dosud na bázi přímého hlášení od poskytovatelů sociálních služeb registrováno 576 nákaz u personálu a 405 nákaz u klientů. Celkem 69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96776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046" y="5480176"/>
            <a:ext cx="1157858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nahlášeno 997 případů nákazy personálu a 423 klientů, z nichž 29 zemřelo. V únoru dosud bylo nahlášeno 350 nákaz pracovníků a 166 nákaz klientů, z nichž 9 zemřelo. Počty případů s těžkým průběhem nákazy, zejména vyžadujícím hospitalizaci, zůstávají nízké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jednotkách případů denně v celé Č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38813601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14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8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2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6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0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7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1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6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8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7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3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1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95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81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659894"/>
            <a:ext cx="36618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áz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PS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438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 54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ien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102 57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k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yt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s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Z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ho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álníh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IN 172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edis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1,8%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41929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28372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7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9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5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.6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0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4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3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1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2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1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0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2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9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4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7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41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3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50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93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843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7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2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1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2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5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9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843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2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4. 2. 2022</a:t>
            </a:r>
          </a:p>
        </p:txBody>
      </p:sp>
    </p:spTree>
    <p:extLst>
      <p:ext uri="{BB962C8B-B14F-4D97-AF65-F5344CB8AC3E}">
        <p14:creationId xmlns:p14="http://schemas.microsoft.com/office/powerpoint/2010/main" val="6268553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1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40765" y="2971287"/>
          <a:ext cx="10115198" cy="3252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6%</a:t>
                      </a: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37 </a:t>
                      </a: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%</a:t>
                      </a: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9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2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4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0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5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8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4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3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73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84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409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4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4. 2. 2022</a:t>
            </a:r>
          </a:p>
        </p:txBody>
      </p:sp>
    </p:spTree>
    <p:extLst>
      <p:ext uri="{BB962C8B-B14F-4D97-AF65-F5344CB8AC3E}">
        <p14:creationId xmlns:p14="http://schemas.microsoft.com/office/powerpoint/2010/main" val="3090281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4. 2. 2022</a:t>
            </a:r>
          </a:p>
        </p:txBody>
      </p:sp>
    </p:spTree>
    <p:extLst>
      <p:ext uri="{BB962C8B-B14F-4D97-AF65-F5344CB8AC3E}">
        <p14:creationId xmlns:p14="http://schemas.microsoft.com/office/powerpoint/2010/main" val="13344762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4. 2. 2022</a:t>
            </a:r>
          </a:p>
        </p:txBody>
      </p:sp>
    </p:spTree>
    <p:extLst>
      <p:ext uri="{BB962C8B-B14F-4D97-AF65-F5344CB8AC3E}">
        <p14:creationId xmlns:p14="http://schemas.microsoft.com/office/powerpoint/2010/main" val="4089613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402600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5077560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9164540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6358" y="951384"/>
          <a:ext cx="11724467" cy="56418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8795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01560235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874325632"/>
                    </a:ext>
                  </a:extLst>
                </a:gridCol>
              </a:tblGrid>
              <a:tr h="602838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 </a:t>
                      </a: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– k 4.2.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283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34205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4509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42680938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6358" y="988368"/>
          <a:ext cx="11895207" cy="57024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5915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380247738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44831403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5.2. 22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37422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5438004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0544674"/>
              </p:ext>
            </p:ext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153592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934450"/>
            <a:ext cx="1132702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2 nakažených osob) a za listopad 36 ohnisek s celkem 645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92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a únor 2022 je dosud hlášeno 47 událostí se 704 nakaženými (stav k 5. 2.) </a:t>
            </a:r>
          </a:p>
          <a:p>
            <a:pPr algn="ctr">
              <a:defRPr/>
            </a:pPr>
            <a:endParaRPr lang="cs-CZ" sz="24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e srovnání s jarem 2021 jde stále o velmi nízké počty a při dělení na kraje pouze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 jednotkové výskyty nákazy. </a:t>
            </a:r>
            <a:r>
              <a:rPr lang="cs-CZ" sz="2400" b="1" dirty="0">
                <a:solidFill>
                  <a:srgbClr val="0000FF"/>
                </a:solidFill>
                <a:latin typeface="Calibri" panose="020F0502020204030204"/>
              </a:rPr>
              <a:t>Tato data ukazují, že situace v sociálních zařízeních je stále pod kontrolou, velký ochranný efekt hraje vakcinace a také samozřejmě počet klientů, kteří prodělali nákazu v uplynulém období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23343" y="5994400"/>
            <a:ext cx="1319062" cy="67267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AF9B6E51-CC88-432E-861C-7B2EF2C2E6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479831"/>
              </p:ext>
            </p:extLst>
          </p:nvPr>
        </p:nvGraphicFramePr>
        <p:xfrm>
          <a:off x="1003516" y="5723959"/>
          <a:ext cx="10940799" cy="731520"/>
        </p:xfrm>
        <a:graphic>
          <a:graphicData uri="http://schemas.openxmlformats.org/drawingml/2006/table">
            <a:tbl>
              <a:tblPr/>
              <a:tblGrid>
                <a:gridCol w="117643">
                  <a:extLst>
                    <a:ext uri="{9D8B030D-6E8A-4147-A177-3AD203B41FA5}">
                      <a16:colId xmlns:a16="http://schemas.microsoft.com/office/drawing/2014/main" val="3411198638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163474847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636294449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502923377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4047058284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4146621876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486300857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98435706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324222130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70585575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0102209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874194833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541557398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389239478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49983430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4058744104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549416366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719658498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393164220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110704168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999383033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41867227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89640074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447429801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716204261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210429063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95566598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489528173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231004821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580587829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68416469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79548804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056065951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83019495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63860770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53653194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31103933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560766958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051034260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381426031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53014135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393874526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955916168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0604460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86542409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92877787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6936343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803325583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67828764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460236739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493318511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96989563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04330794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814694313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203825488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82279729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065094217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23589759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765090997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36054324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700944601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54805670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18843098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197421221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311126139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55865118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723986654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4284773866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187891347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2995750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536262569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4041712101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895859790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766917886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765463147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4150459707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9553001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36675749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873035276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416366173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865970064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353578420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219953688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22519984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2585163887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521445286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048325428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8591211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89063228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4095020945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936283031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321215672"/>
                    </a:ext>
                  </a:extLst>
                </a:gridCol>
                <a:gridCol w="117643">
                  <a:extLst>
                    <a:ext uri="{9D8B030D-6E8A-4147-A177-3AD203B41FA5}">
                      <a16:colId xmlns:a16="http://schemas.microsoft.com/office/drawing/2014/main" val="1531852176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72349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7274529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4450127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5. 2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53266" y="4716302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AE3858D0-7D3E-42C7-9792-705552A797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4569141"/>
              </p:ext>
            </p:extLst>
          </p:nvPr>
        </p:nvGraphicFramePr>
        <p:xfrm>
          <a:off x="7428768" y="5737704"/>
          <a:ext cx="4564868" cy="731520"/>
        </p:xfrm>
        <a:graphic>
          <a:graphicData uri="http://schemas.openxmlformats.org/drawingml/2006/table">
            <a:tbl>
              <a:tblPr/>
              <a:tblGrid>
                <a:gridCol w="207494">
                  <a:extLst>
                    <a:ext uri="{9D8B030D-6E8A-4147-A177-3AD203B41FA5}">
                      <a16:colId xmlns:a16="http://schemas.microsoft.com/office/drawing/2014/main" val="295667795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849148463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1371742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02582397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764670297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96455583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692910620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61028071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818424054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46594245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6968185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98913607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30036565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904147803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90066397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03463928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01993228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0557786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253061617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56108966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42121253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4048292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580298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32717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5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7542417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2/2022 k 5. 2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619445" y="5534255"/>
            <a:ext cx="4956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5. 2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2680802"/>
              </p:ext>
            </p:extLst>
          </p:nvPr>
        </p:nvGraphicFramePr>
        <p:xfrm>
          <a:off x="123825" y="1066753"/>
          <a:ext cx="6483887" cy="5416275"/>
        </p:xfrm>
        <a:graphic>
          <a:graphicData uri="http://schemas.openxmlformats.org/drawingml/2006/table">
            <a:tbl>
              <a:tblPr/>
              <a:tblGrid>
                <a:gridCol w="556665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33585517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5. 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B4062E8A-E78F-421E-ADA8-8CCE929396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5930239"/>
              </p:ext>
            </p:extLst>
          </p:nvPr>
        </p:nvGraphicFramePr>
        <p:xfrm>
          <a:off x="7428768" y="1259561"/>
          <a:ext cx="4564868" cy="444334"/>
        </p:xfrm>
        <a:graphic>
          <a:graphicData uri="http://schemas.openxmlformats.org/drawingml/2006/table">
            <a:tbl>
              <a:tblPr/>
              <a:tblGrid>
                <a:gridCol w="207494">
                  <a:extLst>
                    <a:ext uri="{9D8B030D-6E8A-4147-A177-3AD203B41FA5}">
                      <a16:colId xmlns:a16="http://schemas.microsoft.com/office/drawing/2014/main" val="265543602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40274602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69413476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30613140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48777705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02848216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90225913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58576874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176786034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556924387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00450595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94080013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89089392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55776948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65415776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20024513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25191806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460073803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68469305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5092026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093024624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54145974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132085"/>
                  </a:ext>
                </a:extLst>
              </a:tr>
              <a:tr h="4114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9854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051097BD-73E6-4BA2-91A9-E329A719F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584393"/>
              </p:ext>
            </p:extLst>
          </p:nvPr>
        </p:nvGraphicFramePr>
        <p:xfrm>
          <a:off x="8685801" y="987423"/>
          <a:ext cx="886823" cy="5460980"/>
        </p:xfrm>
        <a:graphic>
          <a:graphicData uri="http://schemas.openxmlformats.org/drawingml/2006/table">
            <a:tbl>
              <a:tblPr/>
              <a:tblGrid>
                <a:gridCol w="886823">
                  <a:extLst>
                    <a:ext uri="{9D8B030D-6E8A-4147-A177-3AD203B41FA5}">
                      <a16:colId xmlns:a16="http://schemas.microsoft.com/office/drawing/2014/main" val="111910632"/>
                    </a:ext>
                  </a:extLst>
                </a:gridCol>
              </a:tblGrid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95311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43180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40817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34243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11785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5086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92137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55385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80923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0456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09816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82135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900115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878125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29321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24765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28311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38772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44977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42054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76111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02100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35957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43657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7098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37582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67764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17510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5. 2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095416"/>
              </p:ext>
            </p:extLst>
          </p:nvPr>
        </p:nvGraphicFramePr>
        <p:xfrm>
          <a:off x="1093233" y="762000"/>
          <a:ext cx="8958646" cy="5686417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591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8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1 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249595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347409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15208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A7572F1-A3A9-4778-AC0A-1851ED588C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8161858"/>
              </p:ext>
            </p:extLst>
          </p:nvPr>
        </p:nvGraphicFramePr>
        <p:xfrm>
          <a:off x="8677275" y="1159939"/>
          <a:ext cx="933450" cy="5288490"/>
        </p:xfrm>
        <a:graphic>
          <a:graphicData uri="http://schemas.openxmlformats.org/drawingml/2006/table">
            <a:tbl>
              <a:tblPr/>
              <a:tblGrid>
                <a:gridCol w="933450">
                  <a:extLst>
                    <a:ext uri="{9D8B030D-6E8A-4147-A177-3AD203B41FA5}">
                      <a16:colId xmlns:a16="http://schemas.microsoft.com/office/drawing/2014/main" val="708023879"/>
                    </a:ext>
                  </a:extLst>
                </a:gridCol>
              </a:tblGrid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019937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596300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985743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41217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509049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814401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564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71538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021637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15510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508955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76758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07953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68211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4421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72762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968296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73624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4381404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33695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68431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133861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1654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400725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983020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59584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98837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5. 2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469200"/>
              </p:ext>
            </p:extLst>
          </p:nvPr>
        </p:nvGraphicFramePr>
        <p:xfrm>
          <a:off x="1104900" y="718064"/>
          <a:ext cx="8958646" cy="5730352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411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268 (5 31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87 (29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939 (3 69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61 (22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 507 (63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99 (4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91 (79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7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3 (1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6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1 (3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1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27552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791593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92706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397A3E1-C593-421B-B680-DAA927CDA1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055134"/>
              </p:ext>
            </p:extLst>
          </p:nvPr>
        </p:nvGraphicFramePr>
        <p:xfrm>
          <a:off x="7349384" y="5543020"/>
          <a:ext cx="4568082" cy="86662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3679869891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958834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81908233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97163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5190631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6177941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9605594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5302667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3247318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6557830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5. 2. 2022</a:t>
            </a: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081177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669</TotalTime>
  <Words>15641</Words>
  <Application>Microsoft Office PowerPoint</Application>
  <PresentationFormat>Širokoúhlá obrazovka</PresentationFormat>
  <Paragraphs>6732</Paragraphs>
  <Slides>60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60</vt:i4>
      </vt:variant>
    </vt:vector>
  </HeadingPairs>
  <TitlesOfParts>
    <vt:vector size="64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užík Jan RNDr. Ph.D.</cp:lastModifiedBy>
  <cp:revision>619</cp:revision>
  <dcterms:created xsi:type="dcterms:W3CDTF">2020-11-14T10:09:00Z</dcterms:created>
  <dcterms:modified xsi:type="dcterms:W3CDTF">2022-02-05T17:27:59Z</dcterms:modified>
</cp:coreProperties>
</file>